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sldIdLst>
    <p:sldId id="256" r:id="rId2"/>
    <p:sldId id="278" r:id="rId3"/>
    <p:sldId id="287" r:id="rId4"/>
    <p:sldId id="289" r:id="rId5"/>
    <p:sldId id="291" r:id="rId6"/>
    <p:sldId id="294" r:id="rId7"/>
  </p:sldIdLst>
  <p:sldSz cx="12192000" cy="6858000"/>
  <p:notesSz cx="6810375" cy="9942513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05">
          <p15:clr>
            <a:srgbClr val="A4A3A4"/>
          </p15:clr>
        </p15:guide>
        <p15:guide id="4" orient="horz" pos="2455">
          <p15:clr>
            <a:srgbClr val="A4A3A4"/>
          </p15:clr>
        </p15:guide>
        <p15:guide id="5" orient="horz" pos="1150">
          <p15:clr>
            <a:srgbClr val="A4A3A4"/>
          </p15:clr>
        </p15:guide>
        <p15:guide id="6" orient="horz" pos="2365">
          <p15:clr>
            <a:srgbClr val="A4A3A4"/>
          </p15:clr>
        </p15:guide>
        <p15:guide id="7" orient="horz" pos="3946">
          <p15:clr>
            <a:srgbClr val="A4A3A4"/>
          </p15:clr>
        </p15:guide>
        <p15:guide id="8" orient="horz" pos="925">
          <p15:clr>
            <a:srgbClr val="A4A3A4"/>
          </p15:clr>
        </p15:guide>
        <p15:guide id="9" orient="horz" pos="3986">
          <p15:clr>
            <a:srgbClr val="A4A3A4"/>
          </p15:clr>
        </p15:guide>
        <p15:guide id="10" orient="horz" pos="2409">
          <p15:clr>
            <a:srgbClr val="A4A3A4"/>
          </p15:clr>
        </p15:guide>
        <p15:guide id="11" pos="270">
          <p15:clr>
            <a:srgbClr val="A4A3A4"/>
          </p15:clr>
        </p15:guide>
        <p15:guide id="12" pos="7409">
          <p15:clr>
            <a:srgbClr val="A4A3A4"/>
          </p15:clr>
        </p15:guide>
        <p15:guide id="13" pos="1857">
          <p15:clr>
            <a:srgbClr val="A4A3A4"/>
          </p15:clr>
        </p15:guide>
        <p15:guide id="14" pos="3445">
          <p15:clr>
            <a:srgbClr val="A4A3A4"/>
          </p15:clr>
        </p15:guide>
        <p15:guide id="15" pos="3795">
          <p15:clr>
            <a:srgbClr val="A4A3A4"/>
          </p15:clr>
        </p15:guide>
        <p15:guide id="16" pos="3886">
          <p15:clr>
            <a:srgbClr val="A4A3A4"/>
          </p15:clr>
        </p15:guide>
        <p15:guide id="17" pos="3841">
          <p15:clr>
            <a:srgbClr val="A4A3A4"/>
          </p15:clr>
        </p15:guide>
        <p15:guide id="18" pos="5823">
          <p15:clr>
            <a:srgbClr val="A4A3A4"/>
          </p15:clr>
        </p15:guide>
        <p15:guide id="19" pos="4234">
          <p15:clr>
            <a:srgbClr val="A4A3A4"/>
          </p15:clr>
        </p15:guide>
        <p15:guide id="20" pos="1835">
          <p15:clr>
            <a:srgbClr val="A4A3A4"/>
          </p15:clr>
        </p15:guide>
        <p15:guide id="21" pos="5799">
          <p15:clr>
            <a:srgbClr val="A4A3A4"/>
          </p15:clr>
        </p15:guide>
        <p15:guide id="22" pos="5844">
          <p15:clr>
            <a:srgbClr val="A4A3A4"/>
          </p15:clr>
        </p15:guide>
        <p15:guide id="23" pos="1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70"/>
    <a:srgbClr val="9293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15" autoAdjust="0"/>
    <p:restoredTop sz="95631" autoAdjust="0"/>
  </p:normalViewPr>
  <p:slideViewPr>
    <p:cSldViewPr snapToGrid="0" showGuides="1">
      <p:cViewPr>
        <p:scale>
          <a:sx n="100" d="100"/>
          <a:sy n="100" d="100"/>
        </p:scale>
        <p:origin x="768" y="72"/>
      </p:cViewPr>
      <p:guideLst>
        <p:guide orient="horz" pos="2160"/>
        <p:guide pos="3840"/>
        <p:guide orient="horz" pos="1105"/>
        <p:guide orient="horz" pos="2455"/>
        <p:guide orient="horz" pos="1150"/>
        <p:guide orient="horz" pos="2365"/>
        <p:guide orient="horz" pos="3946"/>
        <p:guide orient="horz" pos="925"/>
        <p:guide orient="horz" pos="3986"/>
        <p:guide orient="horz" pos="2409"/>
        <p:guide pos="270"/>
        <p:guide pos="7409"/>
        <p:guide pos="1857"/>
        <p:guide pos="3445"/>
        <p:guide pos="3795"/>
        <p:guide pos="3886"/>
        <p:guide pos="3841"/>
        <p:guide pos="5823"/>
        <p:guide pos="4234"/>
        <p:guide pos="1835"/>
        <p:guide pos="5799"/>
        <p:guide pos="5844"/>
        <p:guide pos="1881"/>
      </p:guideLst>
    </p:cSldViewPr>
  </p:slideViewPr>
  <p:outlineViewPr>
    <p:cViewPr>
      <p:scale>
        <a:sx n="33" d="100"/>
        <a:sy n="33" d="100"/>
      </p:scale>
      <p:origin x="0" y="71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1" d="100"/>
          <a:sy n="81" d="100"/>
        </p:scale>
        <p:origin x="-4020" y="-9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1A5B96-0E9E-4A13-8048-7C3A424D7307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286A3C11-66A0-4392-A75E-18F9217121EF}">
      <dgm:prSet phldrT="[Text]" custT="1"/>
      <dgm:spPr/>
      <dgm:t>
        <a:bodyPr/>
        <a:lstStyle/>
        <a:p>
          <a:r>
            <a:rPr lang="nl-NL" sz="2000" dirty="0" err="1"/>
            <a:t>Current</a:t>
          </a:r>
          <a:r>
            <a:rPr lang="nl-NL" sz="2000" dirty="0"/>
            <a:t> Google data issues</a:t>
          </a:r>
        </a:p>
      </dgm:t>
    </dgm:pt>
    <dgm:pt modelId="{AC9C5ED2-1FB9-4A14-8959-6F3C6012D00E}" type="parTrans" cxnId="{80676B96-CE97-41EA-A967-109873A1D0AB}">
      <dgm:prSet/>
      <dgm:spPr/>
      <dgm:t>
        <a:bodyPr/>
        <a:lstStyle/>
        <a:p>
          <a:endParaRPr lang="nl-NL"/>
        </a:p>
      </dgm:t>
    </dgm:pt>
    <dgm:pt modelId="{FAEA0213-B286-41D0-B625-515B8604BC5E}" type="sibTrans" cxnId="{80676B96-CE97-41EA-A967-109873A1D0AB}">
      <dgm:prSet/>
      <dgm:spPr/>
      <dgm:t>
        <a:bodyPr/>
        <a:lstStyle/>
        <a:p>
          <a:endParaRPr lang="nl-NL"/>
        </a:p>
      </dgm:t>
    </dgm:pt>
    <dgm:pt modelId="{30585C32-05B5-4029-BB3C-884F1ECC6401}">
      <dgm:prSet phldrT="[Text]" custT="1"/>
      <dgm:spPr/>
      <dgm:t>
        <a:bodyPr/>
        <a:lstStyle/>
        <a:p>
          <a:r>
            <a:rPr lang="nl-NL" sz="1800" dirty="0"/>
            <a:t>Missing</a:t>
          </a:r>
        </a:p>
      </dgm:t>
    </dgm:pt>
    <dgm:pt modelId="{16F70D96-B982-443A-8DE5-28CE4F9114DD}" type="parTrans" cxnId="{B7D05A55-928E-4AD8-A5BC-DD663A319834}">
      <dgm:prSet/>
      <dgm:spPr/>
      <dgm:t>
        <a:bodyPr/>
        <a:lstStyle/>
        <a:p>
          <a:endParaRPr lang="nl-NL"/>
        </a:p>
      </dgm:t>
    </dgm:pt>
    <dgm:pt modelId="{CBA13627-0FA8-4399-89B0-5ACBD42925E2}" type="sibTrans" cxnId="{B7D05A55-928E-4AD8-A5BC-DD663A319834}">
      <dgm:prSet/>
      <dgm:spPr/>
      <dgm:t>
        <a:bodyPr/>
        <a:lstStyle/>
        <a:p>
          <a:endParaRPr lang="nl-NL"/>
        </a:p>
      </dgm:t>
    </dgm:pt>
    <dgm:pt modelId="{4EC5B69F-90CA-49E1-AFA9-391DA0299EA6}">
      <dgm:prSet phldrT="[Text]" custT="1"/>
      <dgm:spPr/>
      <dgm:t>
        <a:bodyPr/>
        <a:lstStyle/>
        <a:p>
          <a:r>
            <a:rPr lang="nl-NL" sz="1800" dirty="0"/>
            <a:t>Incorrect</a:t>
          </a:r>
        </a:p>
      </dgm:t>
    </dgm:pt>
    <dgm:pt modelId="{6404A58B-9A22-4D67-886B-187ECEA3DD66}" type="parTrans" cxnId="{62B542B6-E053-46CA-9E57-BC727D1F447F}">
      <dgm:prSet/>
      <dgm:spPr/>
      <dgm:t>
        <a:bodyPr/>
        <a:lstStyle/>
        <a:p>
          <a:endParaRPr lang="nl-NL"/>
        </a:p>
      </dgm:t>
    </dgm:pt>
    <dgm:pt modelId="{8B513E91-8C8B-437D-A462-022411E6A63D}" type="sibTrans" cxnId="{62B542B6-E053-46CA-9E57-BC727D1F447F}">
      <dgm:prSet/>
      <dgm:spPr/>
      <dgm:t>
        <a:bodyPr/>
        <a:lstStyle/>
        <a:p>
          <a:endParaRPr lang="nl-NL"/>
        </a:p>
      </dgm:t>
    </dgm:pt>
    <dgm:pt modelId="{207D989A-855E-44C3-9D5D-1E3773BB8AD7}" type="pres">
      <dgm:prSet presAssocID="{501A5B96-0E9E-4A13-8048-7C3A424D7307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189718C-2990-4F95-9F80-3BA79C5725FC}" type="pres">
      <dgm:prSet presAssocID="{286A3C11-66A0-4392-A75E-18F9217121EF}" presName="hierRoot1" presStyleCnt="0">
        <dgm:presLayoutVars>
          <dgm:hierBranch val="init"/>
        </dgm:presLayoutVars>
      </dgm:prSet>
      <dgm:spPr/>
    </dgm:pt>
    <dgm:pt modelId="{6544FB63-65CE-470C-9D0A-CEDCF2D88524}" type="pres">
      <dgm:prSet presAssocID="{286A3C11-66A0-4392-A75E-18F9217121EF}" presName="rootComposite1" presStyleCnt="0"/>
      <dgm:spPr/>
    </dgm:pt>
    <dgm:pt modelId="{7355F03C-EE5A-4959-9DE0-F63F057ADAC9}" type="pres">
      <dgm:prSet presAssocID="{286A3C11-66A0-4392-A75E-18F9217121EF}" presName="rootText1" presStyleLbl="alignAcc1" presStyleIdx="0" presStyleCnt="0">
        <dgm:presLayoutVars>
          <dgm:chPref val="3"/>
        </dgm:presLayoutVars>
      </dgm:prSet>
      <dgm:spPr/>
    </dgm:pt>
    <dgm:pt modelId="{270D41F9-1FAA-43C6-B735-E93EFF2CE585}" type="pres">
      <dgm:prSet presAssocID="{286A3C11-66A0-4392-A75E-18F9217121EF}" presName="topArc1" presStyleLbl="parChTrans1D1" presStyleIdx="0" presStyleCnt="6"/>
      <dgm:spPr/>
    </dgm:pt>
    <dgm:pt modelId="{CFE8DBAF-CC35-42EF-B5AA-DA81370D66E0}" type="pres">
      <dgm:prSet presAssocID="{286A3C11-66A0-4392-A75E-18F9217121EF}" presName="bottomArc1" presStyleLbl="parChTrans1D1" presStyleIdx="1" presStyleCnt="6"/>
      <dgm:spPr/>
    </dgm:pt>
    <dgm:pt modelId="{991AAEE8-9965-46B7-8A92-92174922DCC2}" type="pres">
      <dgm:prSet presAssocID="{286A3C11-66A0-4392-A75E-18F9217121EF}" presName="topConnNode1" presStyleLbl="node1" presStyleIdx="0" presStyleCnt="0"/>
      <dgm:spPr/>
    </dgm:pt>
    <dgm:pt modelId="{6E23183E-FEBC-40CC-924F-A3994B9BC69F}" type="pres">
      <dgm:prSet presAssocID="{286A3C11-66A0-4392-A75E-18F9217121EF}" presName="hierChild2" presStyleCnt="0"/>
      <dgm:spPr/>
    </dgm:pt>
    <dgm:pt modelId="{23A2CD36-8EED-4882-B815-D20952725A91}" type="pres">
      <dgm:prSet presAssocID="{16F70D96-B982-443A-8DE5-28CE4F9114DD}" presName="Name28" presStyleLbl="parChTrans1D2" presStyleIdx="0" presStyleCnt="2"/>
      <dgm:spPr/>
    </dgm:pt>
    <dgm:pt modelId="{DA8CEC43-AC01-41A9-BD4E-666F757B4F95}" type="pres">
      <dgm:prSet presAssocID="{30585C32-05B5-4029-BB3C-884F1ECC6401}" presName="hierRoot2" presStyleCnt="0">
        <dgm:presLayoutVars>
          <dgm:hierBranch val="init"/>
        </dgm:presLayoutVars>
      </dgm:prSet>
      <dgm:spPr/>
    </dgm:pt>
    <dgm:pt modelId="{A3CA8262-C7CA-4DBB-ADFC-F9E33B089FB7}" type="pres">
      <dgm:prSet presAssocID="{30585C32-05B5-4029-BB3C-884F1ECC6401}" presName="rootComposite2" presStyleCnt="0"/>
      <dgm:spPr/>
    </dgm:pt>
    <dgm:pt modelId="{F9B00FE7-30F0-4329-A875-8A2C400880D9}" type="pres">
      <dgm:prSet presAssocID="{30585C32-05B5-4029-BB3C-884F1ECC6401}" presName="rootText2" presStyleLbl="alignAcc1" presStyleIdx="0" presStyleCnt="0">
        <dgm:presLayoutVars>
          <dgm:chPref val="3"/>
        </dgm:presLayoutVars>
      </dgm:prSet>
      <dgm:spPr/>
    </dgm:pt>
    <dgm:pt modelId="{356A58B7-8578-4B2F-8F8D-26F124215185}" type="pres">
      <dgm:prSet presAssocID="{30585C32-05B5-4029-BB3C-884F1ECC6401}" presName="topArc2" presStyleLbl="parChTrans1D1" presStyleIdx="2" presStyleCnt="6"/>
      <dgm:spPr/>
    </dgm:pt>
    <dgm:pt modelId="{4490F96E-D20C-454F-930E-0CB6E29EB327}" type="pres">
      <dgm:prSet presAssocID="{30585C32-05B5-4029-BB3C-884F1ECC6401}" presName="bottomArc2" presStyleLbl="parChTrans1D1" presStyleIdx="3" presStyleCnt="6"/>
      <dgm:spPr/>
    </dgm:pt>
    <dgm:pt modelId="{DC3AEB02-03E3-4D19-814C-763457B89BB0}" type="pres">
      <dgm:prSet presAssocID="{30585C32-05B5-4029-BB3C-884F1ECC6401}" presName="topConnNode2" presStyleLbl="node2" presStyleIdx="0" presStyleCnt="0"/>
      <dgm:spPr/>
    </dgm:pt>
    <dgm:pt modelId="{E661A42D-3386-4C4A-9B19-EB70D6609126}" type="pres">
      <dgm:prSet presAssocID="{30585C32-05B5-4029-BB3C-884F1ECC6401}" presName="hierChild4" presStyleCnt="0"/>
      <dgm:spPr/>
    </dgm:pt>
    <dgm:pt modelId="{493A4501-4EF9-407C-9717-4C5B363E9E71}" type="pres">
      <dgm:prSet presAssocID="{30585C32-05B5-4029-BB3C-884F1ECC6401}" presName="hierChild5" presStyleCnt="0"/>
      <dgm:spPr/>
    </dgm:pt>
    <dgm:pt modelId="{8A0871EB-C477-4291-A64B-48C07D49370F}" type="pres">
      <dgm:prSet presAssocID="{6404A58B-9A22-4D67-886B-187ECEA3DD66}" presName="Name28" presStyleLbl="parChTrans1D2" presStyleIdx="1" presStyleCnt="2"/>
      <dgm:spPr/>
    </dgm:pt>
    <dgm:pt modelId="{189CC9AF-D303-45B5-BDDC-0D641D3233DF}" type="pres">
      <dgm:prSet presAssocID="{4EC5B69F-90CA-49E1-AFA9-391DA0299EA6}" presName="hierRoot2" presStyleCnt="0">
        <dgm:presLayoutVars>
          <dgm:hierBranch val="init"/>
        </dgm:presLayoutVars>
      </dgm:prSet>
      <dgm:spPr/>
    </dgm:pt>
    <dgm:pt modelId="{5F643D5A-ACA1-4841-BD92-C6454C399BFE}" type="pres">
      <dgm:prSet presAssocID="{4EC5B69F-90CA-49E1-AFA9-391DA0299EA6}" presName="rootComposite2" presStyleCnt="0"/>
      <dgm:spPr/>
    </dgm:pt>
    <dgm:pt modelId="{F61C4F53-6E8D-4136-9688-E4843CA434F6}" type="pres">
      <dgm:prSet presAssocID="{4EC5B69F-90CA-49E1-AFA9-391DA0299EA6}" presName="rootText2" presStyleLbl="alignAcc1" presStyleIdx="0" presStyleCnt="0">
        <dgm:presLayoutVars>
          <dgm:chPref val="3"/>
        </dgm:presLayoutVars>
      </dgm:prSet>
      <dgm:spPr/>
    </dgm:pt>
    <dgm:pt modelId="{8806876B-01C3-4D56-920D-294E7D8EC53C}" type="pres">
      <dgm:prSet presAssocID="{4EC5B69F-90CA-49E1-AFA9-391DA0299EA6}" presName="topArc2" presStyleLbl="parChTrans1D1" presStyleIdx="4" presStyleCnt="6"/>
      <dgm:spPr/>
    </dgm:pt>
    <dgm:pt modelId="{58C76FB1-C0AB-4781-A1AB-5B654262FFF5}" type="pres">
      <dgm:prSet presAssocID="{4EC5B69F-90CA-49E1-AFA9-391DA0299EA6}" presName="bottomArc2" presStyleLbl="parChTrans1D1" presStyleIdx="5" presStyleCnt="6"/>
      <dgm:spPr/>
    </dgm:pt>
    <dgm:pt modelId="{0717CC05-88DC-4286-8ABA-6A69E9113B86}" type="pres">
      <dgm:prSet presAssocID="{4EC5B69F-90CA-49E1-AFA9-391DA0299EA6}" presName="topConnNode2" presStyleLbl="node2" presStyleIdx="0" presStyleCnt="0"/>
      <dgm:spPr/>
    </dgm:pt>
    <dgm:pt modelId="{D8BC065B-4F1C-4322-934F-3E3D352D4F92}" type="pres">
      <dgm:prSet presAssocID="{4EC5B69F-90CA-49E1-AFA9-391DA0299EA6}" presName="hierChild4" presStyleCnt="0"/>
      <dgm:spPr/>
    </dgm:pt>
    <dgm:pt modelId="{9A9407D2-4B74-4AB4-AC3F-83C56FD8D11D}" type="pres">
      <dgm:prSet presAssocID="{4EC5B69F-90CA-49E1-AFA9-391DA0299EA6}" presName="hierChild5" presStyleCnt="0"/>
      <dgm:spPr/>
    </dgm:pt>
    <dgm:pt modelId="{D4B077F2-35F5-4389-9EA2-AEE9D98C2BB6}" type="pres">
      <dgm:prSet presAssocID="{286A3C11-66A0-4392-A75E-18F9217121EF}" presName="hierChild3" presStyleCnt="0"/>
      <dgm:spPr/>
    </dgm:pt>
  </dgm:ptLst>
  <dgm:cxnLst>
    <dgm:cxn modelId="{06199C17-7765-4F18-9016-5231BA8929B0}" type="presOf" srcId="{30585C32-05B5-4029-BB3C-884F1ECC6401}" destId="{F9B00FE7-30F0-4329-A875-8A2C400880D9}" srcOrd="0" destOrd="0" presId="urn:microsoft.com/office/officeart/2008/layout/HalfCircleOrganizationChart"/>
    <dgm:cxn modelId="{7550871D-02FC-4AE0-93AE-5B6D41762F19}" type="presOf" srcId="{501A5B96-0E9E-4A13-8048-7C3A424D7307}" destId="{207D989A-855E-44C3-9D5D-1E3773BB8AD7}" srcOrd="0" destOrd="0" presId="urn:microsoft.com/office/officeart/2008/layout/HalfCircleOrganizationChart"/>
    <dgm:cxn modelId="{7E871424-F8ED-44BE-98CF-B960E71485B3}" type="presOf" srcId="{286A3C11-66A0-4392-A75E-18F9217121EF}" destId="{7355F03C-EE5A-4959-9DE0-F63F057ADAC9}" srcOrd="0" destOrd="0" presId="urn:microsoft.com/office/officeart/2008/layout/HalfCircleOrganizationChart"/>
    <dgm:cxn modelId="{ECDE8E2A-84F8-4A6F-A0EA-27D9990928D3}" type="presOf" srcId="{30585C32-05B5-4029-BB3C-884F1ECC6401}" destId="{DC3AEB02-03E3-4D19-814C-763457B89BB0}" srcOrd="1" destOrd="0" presId="urn:microsoft.com/office/officeart/2008/layout/HalfCircleOrganizationChart"/>
    <dgm:cxn modelId="{FF259534-65E9-47B8-AEE1-41608F6585C5}" type="presOf" srcId="{286A3C11-66A0-4392-A75E-18F9217121EF}" destId="{991AAEE8-9965-46B7-8A92-92174922DCC2}" srcOrd="1" destOrd="0" presId="urn:microsoft.com/office/officeart/2008/layout/HalfCircleOrganizationChart"/>
    <dgm:cxn modelId="{B7D05A55-928E-4AD8-A5BC-DD663A319834}" srcId="{286A3C11-66A0-4392-A75E-18F9217121EF}" destId="{30585C32-05B5-4029-BB3C-884F1ECC6401}" srcOrd="0" destOrd="0" parTransId="{16F70D96-B982-443A-8DE5-28CE4F9114DD}" sibTransId="{CBA13627-0FA8-4399-89B0-5ACBD42925E2}"/>
    <dgm:cxn modelId="{40F58956-B8F2-42CA-833F-0647B03A8DB6}" type="presOf" srcId="{4EC5B69F-90CA-49E1-AFA9-391DA0299EA6}" destId="{0717CC05-88DC-4286-8ABA-6A69E9113B86}" srcOrd="1" destOrd="0" presId="urn:microsoft.com/office/officeart/2008/layout/HalfCircleOrganizationChart"/>
    <dgm:cxn modelId="{ECD2E279-1860-4A51-8D04-EA5A8D985BE9}" type="presOf" srcId="{4EC5B69F-90CA-49E1-AFA9-391DA0299EA6}" destId="{F61C4F53-6E8D-4136-9688-E4843CA434F6}" srcOrd="0" destOrd="0" presId="urn:microsoft.com/office/officeart/2008/layout/HalfCircleOrganizationChart"/>
    <dgm:cxn modelId="{C98C4D85-2520-4E5E-97B8-3F721620CEBE}" type="presOf" srcId="{16F70D96-B982-443A-8DE5-28CE4F9114DD}" destId="{23A2CD36-8EED-4882-B815-D20952725A91}" srcOrd="0" destOrd="0" presId="urn:microsoft.com/office/officeart/2008/layout/HalfCircleOrganizationChart"/>
    <dgm:cxn modelId="{80676B96-CE97-41EA-A967-109873A1D0AB}" srcId="{501A5B96-0E9E-4A13-8048-7C3A424D7307}" destId="{286A3C11-66A0-4392-A75E-18F9217121EF}" srcOrd="0" destOrd="0" parTransId="{AC9C5ED2-1FB9-4A14-8959-6F3C6012D00E}" sibTransId="{FAEA0213-B286-41D0-B625-515B8604BC5E}"/>
    <dgm:cxn modelId="{62B542B6-E053-46CA-9E57-BC727D1F447F}" srcId="{286A3C11-66A0-4392-A75E-18F9217121EF}" destId="{4EC5B69F-90CA-49E1-AFA9-391DA0299EA6}" srcOrd="1" destOrd="0" parTransId="{6404A58B-9A22-4D67-886B-187ECEA3DD66}" sibTransId="{8B513E91-8C8B-437D-A462-022411E6A63D}"/>
    <dgm:cxn modelId="{BAAEB2CA-EDDE-4903-8023-4FA1F2742457}" type="presOf" srcId="{6404A58B-9A22-4D67-886B-187ECEA3DD66}" destId="{8A0871EB-C477-4291-A64B-48C07D49370F}" srcOrd="0" destOrd="0" presId="urn:microsoft.com/office/officeart/2008/layout/HalfCircleOrganizationChart"/>
    <dgm:cxn modelId="{DA4A32FE-BE24-43FA-BD43-5A5712CBCB6C}" type="presParOf" srcId="{207D989A-855E-44C3-9D5D-1E3773BB8AD7}" destId="{7189718C-2990-4F95-9F80-3BA79C5725FC}" srcOrd="0" destOrd="0" presId="urn:microsoft.com/office/officeart/2008/layout/HalfCircleOrganizationChart"/>
    <dgm:cxn modelId="{3C142C4D-64E0-4D07-9C79-1C58073AA131}" type="presParOf" srcId="{7189718C-2990-4F95-9F80-3BA79C5725FC}" destId="{6544FB63-65CE-470C-9D0A-CEDCF2D88524}" srcOrd="0" destOrd="0" presId="urn:microsoft.com/office/officeart/2008/layout/HalfCircleOrganizationChart"/>
    <dgm:cxn modelId="{4BE128E3-5CCB-4264-B815-A224E202EB8F}" type="presParOf" srcId="{6544FB63-65CE-470C-9D0A-CEDCF2D88524}" destId="{7355F03C-EE5A-4959-9DE0-F63F057ADAC9}" srcOrd="0" destOrd="0" presId="urn:microsoft.com/office/officeart/2008/layout/HalfCircleOrganizationChart"/>
    <dgm:cxn modelId="{6A143D6B-4756-43C8-BA1B-636452C0E4A2}" type="presParOf" srcId="{6544FB63-65CE-470C-9D0A-CEDCF2D88524}" destId="{270D41F9-1FAA-43C6-B735-E93EFF2CE585}" srcOrd="1" destOrd="0" presId="urn:microsoft.com/office/officeart/2008/layout/HalfCircleOrganizationChart"/>
    <dgm:cxn modelId="{5301BD4A-5913-4971-8031-5DA26E3691A5}" type="presParOf" srcId="{6544FB63-65CE-470C-9D0A-CEDCF2D88524}" destId="{CFE8DBAF-CC35-42EF-B5AA-DA81370D66E0}" srcOrd="2" destOrd="0" presId="urn:microsoft.com/office/officeart/2008/layout/HalfCircleOrganizationChart"/>
    <dgm:cxn modelId="{3BE4A499-2A9B-4560-9E9B-5065E75B8A1D}" type="presParOf" srcId="{6544FB63-65CE-470C-9D0A-CEDCF2D88524}" destId="{991AAEE8-9965-46B7-8A92-92174922DCC2}" srcOrd="3" destOrd="0" presId="urn:microsoft.com/office/officeart/2008/layout/HalfCircleOrganizationChart"/>
    <dgm:cxn modelId="{495BEEA5-BF91-4B4E-A2CF-4959ABE95219}" type="presParOf" srcId="{7189718C-2990-4F95-9F80-3BA79C5725FC}" destId="{6E23183E-FEBC-40CC-924F-A3994B9BC69F}" srcOrd="1" destOrd="0" presId="urn:microsoft.com/office/officeart/2008/layout/HalfCircleOrganizationChart"/>
    <dgm:cxn modelId="{3AC5B86A-4F67-40E8-A5DB-490F6DF9C273}" type="presParOf" srcId="{6E23183E-FEBC-40CC-924F-A3994B9BC69F}" destId="{23A2CD36-8EED-4882-B815-D20952725A91}" srcOrd="0" destOrd="0" presId="urn:microsoft.com/office/officeart/2008/layout/HalfCircleOrganizationChart"/>
    <dgm:cxn modelId="{66508878-423D-427E-8D81-886F73490718}" type="presParOf" srcId="{6E23183E-FEBC-40CC-924F-A3994B9BC69F}" destId="{DA8CEC43-AC01-41A9-BD4E-666F757B4F95}" srcOrd="1" destOrd="0" presId="urn:microsoft.com/office/officeart/2008/layout/HalfCircleOrganizationChart"/>
    <dgm:cxn modelId="{F329B0DD-D423-42E2-B8D5-8317FDA3066F}" type="presParOf" srcId="{DA8CEC43-AC01-41A9-BD4E-666F757B4F95}" destId="{A3CA8262-C7CA-4DBB-ADFC-F9E33B089FB7}" srcOrd="0" destOrd="0" presId="urn:microsoft.com/office/officeart/2008/layout/HalfCircleOrganizationChart"/>
    <dgm:cxn modelId="{ED3E2430-BC60-44AA-B18F-08310D3F43C7}" type="presParOf" srcId="{A3CA8262-C7CA-4DBB-ADFC-F9E33B089FB7}" destId="{F9B00FE7-30F0-4329-A875-8A2C400880D9}" srcOrd="0" destOrd="0" presId="urn:microsoft.com/office/officeart/2008/layout/HalfCircleOrganizationChart"/>
    <dgm:cxn modelId="{E441D39A-3049-459D-B5F2-5B14D856B99A}" type="presParOf" srcId="{A3CA8262-C7CA-4DBB-ADFC-F9E33B089FB7}" destId="{356A58B7-8578-4B2F-8F8D-26F124215185}" srcOrd="1" destOrd="0" presId="urn:microsoft.com/office/officeart/2008/layout/HalfCircleOrganizationChart"/>
    <dgm:cxn modelId="{B2408B89-7220-44A1-BB23-E99FF7F1E8F9}" type="presParOf" srcId="{A3CA8262-C7CA-4DBB-ADFC-F9E33B089FB7}" destId="{4490F96E-D20C-454F-930E-0CB6E29EB327}" srcOrd="2" destOrd="0" presId="urn:microsoft.com/office/officeart/2008/layout/HalfCircleOrganizationChart"/>
    <dgm:cxn modelId="{6949AAD2-3941-40F5-ABFF-B471D074F81A}" type="presParOf" srcId="{A3CA8262-C7CA-4DBB-ADFC-F9E33B089FB7}" destId="{DC3AEB02-03E3-4D19-814C-763457B89BB0}" srcOrd="3" destOrd="0" presId="urn:microsoft.com/office/officeart/2008/layout/HalfCircleOrganizationChart"/>
    <dgm:cxn modelId="{A5DF2161-1776-4006-9A25-F1459492AF70}" type="presParOf" srcId="{DA8CEC43-AC01-41A9-BD4E-666F757B4F95}" destId="{E661A42D-3386-4C4A-9B19-EB70D6609126}" srcOrd="1" destOrd="0" presId="urn:microsoft.com/office/officeart/2008/layout/HalfCircleOrganizationChart"/>
    <dgm:cxn modelId="{2F45D7B2-A2B1-46DA-9D87-7DAEE8EC2051}" type="presParOf" srcId="{DA8CEC43-AC01-41A9-BD4E-666F757B4F95}" destId="{493A4501-4EF9-407C-9717-4C5B363E9E71}" srcOrd="2" destOrd="0" presId="urn:microsoft.com/office/officeart/2008/layout/HalfCircleOrganizationChart"/>
    <dgm:cxn modelId="{6E8497E0-D72F-4139-B471-B706252F4F4E}" type="presParOf" srcId="{6E23183E-FEBC-40CC-924F-A3994B9BC69F}" destId="{8A0871EB-C477-4291-A64B-48C07D49370F}" srcOrd="2" destOrd="0" presId="urn:microsoft.com/office/officeart/2008/layout/HalfCircleOrganizationChart"/>
    <dgm:cxn modelId="{EBA44EBA-B90B-42A5-941F-42FC08A17FDA}" type="presParOf" srcId="{6E23183E-FEBC-40CC-924F-A3994B9BC69F}" destId="{189CC9AF-D303-45B5-BDDC-0D641D3233DF}" srcOrd="3" destOrd="0" presId="urn:microsoft.com/office/officeart/2008/layout/HalfCircleOrganizationChart"/>
    <dgm:cxn modelId="{4A2D911F-21D0-4B04-9264-1C38939FDDE9}" type="presParOf" srcId="{189CC9AF-D303-45B5-BDDC-0D641D3233DF}" destId="{5F643D5A-ACA1-4841-BD92-C6454C399BFE}" srcOrd="0" destOrd="0" presId="urn:microsoft.com/office/officeart/2008/layout/HalfCircleOrganizationChart"/>
    <dgm:cxn modelId="{C45EC66E-2EE7-4757-BF1B-A4484A12818A}" type="presParOf" srcId="{5F643D5A-ACA1-4841-BD92-C6454C399BFE}" destId="{F61C4F53-6E8D-4136-9688-E4843CA434F6}" srcOrd="0" destOrd="0" presId="urn:microsoft.com/office/officeart/2008/layout/HalfCircleOrganizationChart"/>
    <dgm:cxn modelId="{50C65343-5264-4D0E-B69B-B6152B8B2298}" type="presParOf" srcId="{5F643D5A-ACA1-4841-BD92-C6454C399BFE}" destId="{8806876B-01C3-4D56-920D-294E7D8EC53C}" srcOrd="1" destOrd="0" presId="urn:microsoft.com/office/officeart/2008/layout/HalfCircleOrganizationChart"/>
    <dgm:cxn modelId="{B79C3EB4-45B6-42FF-BE5B-C92C8D9F31B7}" type="presParOf" srcId="{5F643D5A-ACA1-4841-BD92-C6454C399BFE}" destId="{58C76FB1-C0AB-4781-A1AB-5B654262FFF5}" srcOrd="2" destOrd="0" presId="urn:microsoft.com/office/officeart/2008/layout/HalfCircleOrganizationChart"/>
    <dgm:cxn modelId="{B592862C-5384-47F5-8229-2DC4F0477A91}" type="presParOf" srcId="{5F643D5A-ACA1-4841-BD92-C6454C399BFE}" destId="{0717CC05-88DC-4286-8ABA-6A69E9113B86}" srcOrd="3" destOrd="0" presId="urn:microsoft.com/office/officeart/2008/layout/HalfCircleOrganizationChart"/>
    <dgm:cxn modelId="{F3FB06F9-385D-405D-A459-589B3CEF8E73}" type="presParOf" srcId="{189CC9AF-D303-45B5-BDDC-0D641D3233DF}" destId="{D8BC065B-4F1C-4322-934F-3E3D352D4F92}" srcOrd="1" destOrd="0" presId="urn:microsoft.com/office/officeart/2008/layout/HalfCircleOrganizationChart"/>
    <dgm:cxn modelId="{C4F5A734-5B31-4FE3-90BD-73747F337E34}" type="presParOf" srcId="{189CC9AF-D303-45B5-BDDC-0D641D3233DF}" destId="{9A9407D2-4B74-4AB4-AC3F-83C56FD8D11D}" srcOrd="2" destOrd="0" presId="urn:microsoft.com/office/officeart/2008/layout/HalfCircleOrganizationChart"/>
    <dgm:cxn modelId="{1333981C-D70B-4BB6-8444-DF687F2368C7}" type="presParOf" srcId="{7189718C-2990-4F95-9F80-3BA79C5725FC}" destId="{D4B077F2-35F5-4389-9EA2-AEE9D98C2BB6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01A5B96-0E9E-4A13-8048-7C3A424D7307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286A3C11-66A0-4392-A75E-18F9217121EF}">
      <dgm:prSet phldrT="[Text]" custT="1"/>
      <dgm:spPr/>
      <dgm:t>
        <a:bodyPr/>
        <a:lstStyle/>
        <a:p>
          <a:r>
            <a:rPr lang="nl-NL" sz="2000" dirty="0"/>
            <a:t>Data types</a:t>
          </a:r>
        </a:p>
      </dgm:t>
    </dgm:pt>
    <dgm:pt modelId="{AC9C5ED2-1FB9-4A14-8959-6F3C6012D00E}" type="parTrans" cxnId="{80676B96-CE97-41EA-A967-109873A1D0AB}">
      <dgm:prSet/>
      <dgm:spPr/>
      <dgm:t>
        <a:bodyPr/>
        <a:lstStyle/>
        <a:p>
          <a:endParaRPr lang="nl-NL"/>
        </a:p>
      </dgm:t>
    </dgm:pt>
    <dgm:pt modelId="{FAEA0213-B286-41D0-B625-515B8604BC5E}" type="sibTrans" cxnId="{80676B96-CE97-41EA-A967-109873A1D0AB}">
      <dgm:prSet/>
      <dgm:spPr/>
      <dgm:t>
        <a:bodyPr/>
        <a:lstStyle/>
        <a:p>
          <a:endParaRPr lang="nl-NL"/>
        </a:p>
      </dgm:t>
    </dgm:pt>
    <dgm:pt modelId="{30585C32-05B5-4029-BB3C-884F1ECC6401}">
      <dgm:prSet phldrT="[Text]" custT="1"/>
      <dgm:spPr/>
      <dgm:t>
        <a:bodyPr/>
        <a:lstStyle/>
        <a:p>
          <a:r>
            <a:rPr lang="nl-NL" sz="1800" dirty="0"/>
            <a:t>Events</a:t>
          </a:r>
        </a:p>
      </dgm:t>
    </dgm:pt>
    <dgm:pt modelId="{16F70D96-B982-443A-8DE5-28CE4F9114DD}" type="parTrans" cxnId="{B7D05A55-928E-4AD8-A5BC-DD663A319834}">
      <dgm:prSet/>
      <dgm:spPr/>
      <dgm:t>
        <a:bodyPr/>
        <a:lstStyle/>
        <a:p>
          <a:endParaRPr lang="nl-NL"/>
        </a:p>
      </dgm:t>
    </dgm:pt>
    <dgm:pt modelId="{CBA13627-0FA8-4399-89B0-5ACBD42925E2}" type="sibTrans" cxnId="{B7D05A55-928E-4AD8-A5BC-DD663A319834}">
      <dgm:prSet/>
      <dgm:spPr/>
      <dgm:t>
        <a:bodyPr/>
        <a:lstStyle/>
        <a:p>
          <a:endParaRPr lang="nl-NL"/>
        </a:p>
      </dgm:t>
    </dgm:pt>
    <dgm:pt modelId="{4EC5B69F-90CA-49E1-AFA9-391DA0299EA6}">
      <dgm:prSet phldrT="[Text]" custT="1"/>
      <dgm:spPr/>
      <dgm:t>
        <a:bodyPr/>
        <a:lstStyle/>
        <a:p>
          <a:r>
            <a:rPr lang="nl-NL" sz="1800" dirty="0"/>
            <a:t>Pages</a:t>
          </a:r>
        </a:p>
      </dgm:t>
    </dgm:pt>
    <dgm:pt modelId="{6404A58B-9A22-4D67-886B-187ECEA3DD66}" type="parTrans" cxnId="{62B542B6-E053-46CA-9E57-BC727D1F447F}">
      <dgm:prSet/>
      <dgm:spPr/>
      <dgm:t>
        <a:bodyPr/>
        <a:lstStyle/>
        <a:p>
          <a:endParaRPr lang="nl-NL"/>
        </a:p>
      </dgm:t>
    </dgm:pt>
    <dgm:pt modelId="{8B513E91-8C8B-437D-A462-022411E6A63D}" type="sibTrans" cxnId="{62B542B6-E053-46CA-9E57-BC727D1F447F}">
      <dgm:prSet/>
      <dgm:spPr/>
      <dgm:t>
        <a:bodyPr/>
        <a:lstStyle/>
        <a:p>
          <a:endParaRPr lang="nl-NL"/>
        </a:p>
      </dgm:t>
    </dgm:pt>
    <dgm:pt modelId="{207D989A-855E-44C3-9D5D-1E3773BB8AD7}" type="pres">
      <dgm:prSet presAssocID="{501A5B96-0E9E-4A13-8048-7C3A424D7307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189718C-2990-4F95-9F80-3BA79C5725FC}" type="pres">
      <dgm:prSet presAssocID="{286A3C11-66A0-4392-A75E-18F9217121EF}" presName="hierRoot1" presStyleCnt="0">
        <dgm:presLayoutVars>
          <dgm:hierBranch val="init"/>
        </dgm:presLayoutVars>
      </dgm:prSet>
      <dgm:spPr/>
    </dgm:pt>
    <dgm:pt modelId="{6544FB63-65CE-470C-9D0A-CEDCF2D88524}" type="pres">
      <dgm:prSet presAssocID="{286A3C11-66A0-4392-A75E-18F9217121EF}" presName="rootComposite1" presStyleCnt="0"/>
      <dgm:spPr/>
    </dgm:pt>
    <dgm:pt modelId="{7355F03C-EE5A-4959-9DE0-F63F057ADAC9}" type="pres">
      <dgm:prSet presAssocID="{286A3C11-66A0-4392-A75E-18F9217121EF}" presName="rootText1" presStyleLbl="alignAcc1" presStyleIdx="0" presStyleCnt="0">
        <dgm:presLayoutVars>
          <dgm:chPref val="3"/>
        </dgm:presLayoutVars>
      </dgm:prSet>
      <dgm:spPr/>
    </dgm:pt>
    <dgm:pt modelId="{270D41F9-1FAA-43C6-B735-E93EFF2CE585}" type="pres">
      <dgm:prSet presAssocID="{286A3C11-66A0-4392-A75E-18F9217121EF}" presName="topArc1" presStyleLbl="parChTrans1D1" presStyleIdx="0" presStyleCnt="6"/>
      <dgm:spPr/>
    </dgm:pt>
    <dgm:pt modelId="{CFE8DBAF-CC35-42EF-B5AA-DA81370D66E0}" type="pres">
      <dgm:prSet presAssocID="{286A3C11-66A0-4392-A75E-18F9217121EF}" presName="bottomArc1" presStyleLbl="parChTrans1D1" presStyleIdx="1" presStyleCnt="6"/>
      <dgm:spPr/>
    </dgm:pt>
    <dgm:pt modelId="{991AAEE8-9965-46B7-8A92-92174922DCC2}" type="pres">
      <dgm:prSet presAssocID="{286A3C11-66A0-4392-A75E-18F9217121EF}" presName="topConnNode1" presStyleLbl="node1" presStyleIdx="0" presStyleCnt="0"/>
      <dgm:spPr/>
    </dgm:pt>
    <dgm:pt modelId="{6E23183E-FEBC-40CC-924F-A3994B9BC69F}" type="pres">
      <dgm:prSet presAssocID="{286A3C11-66A0-4392-A75E-18F9217121EF}" presName="hierChild2" presStyleCnt="0"/>
      <dgm:spPr/>
    </dgm:pt>
    <dgm:pt modelId="{23A2CD36-8EED-4882-B815-D20952725A91}" type="pres">
      <dgm:prSet presAssocID="{16F70D96-B982-443A-8DE5-28CE4F9114DD}" presName="Name28" presStyleLbl="parChTrans1D2" presStyleIdx="0" presStyleCnt="2"/>
      <dgm:spPr/>
    </dgm:pt>
    <dgm:pt modelId="{DA8CEC43-AC01-41A9-BD4E-666F757B4F95}" type="pres">
      <dgm:prSet presAssocID="{30585C32-05B5-4029-BB3C-884F1ECC6401}" presName="hierRoot2" presStyleCnt="0">
        <dgm:presLayoutVars>
          <dgm:hierBranch val="init"/>
        </dgm:presLayoutVars>
      </dgm:prSet>
      <dgm:spPr/>
    </dgm:pt>
    <dgm:pt modelId="{A3CA8262-C7CA-4DBB-ADFC-F9E33B089FB7}" type="pres">
      <dgm:prSet presAssocID="{30585C32-05B5-4029-BB3C-884F1ECC6401}" presName="rootComposite2" presStyleCnt="0"/>
      <dgm:spPr/>
    </dgm:pt>
    <dgm:pt modelId="{F9B00FE7-30F0-4329-A875-8A2C400880D9}" type="pres">
      <dgm:prSet presAssocID="{30585C32-05B5-4029-BB3C-884F1ECC6401}" presName="rootText2" presStyleLbl="alignAcc1" presStyleIdx="0" presStyleCnt="0">
        <dgm:presLayoutVars>
          <dgm:chPref val="3"/>
        </dgm:presLayoutVars>
      </dgm:prSet>
      <dgm:spPr/>
    </dgm:pt>
    <dgm:pt modelId="{356A58B7-8578-4B2F-8F8D-26F124215185}" type="pres">
      <dgm:prSet presAssocID="{30585C32-05B5-4029-BB3C-884F1ECC6401}" presName="topArc2" presStyleLbl="parChTrans1D1" presStyleIdx="2" presStyleCnt="6"/>
      <dgm:spPr/>
    </dgm:pt>
    <dgm:pt modelId="{4490F96E-D20C-454F-930E-0CB6E29EB327}" type="pres">
      <dgm:prSet presAssocID="{30585C32-05B5-4029-BB3C-884F1ECC6401}" presName="bottomArc2" presStyleLbl="parChTrans1D1" presStyleIdx="3" presStyleCnt="6"/>
      <dgm:spPr/>
    </dgm:pt>
    <dgm:pt modelId="{DC3AEB02-03E3-4D19-814C-763457B89BB0}" type="pres">
      <dgm:prSet presAssocID="{30585C32-05B5-4029-BB3C-884F1ECC6401}" presName="topConnNode2" presStyleLbl="node2" presStyleIdx="0" presStyleCnt="0"/>
      <dgm:spPr/>
    </dgm:pt>
    <dgm:pt modelId="{E661A42D-3386-4C4A-9B19-EB70D6609126}" type="pres">
      <dgm:prSet presAssocID="{30585C32-05B5-4029-BB3C-884F1ECC6401}" presName="hierChild4" presStyleCnt="0"/>
      <dgm:spPr/>
    </dgm:pt>
    <dgm:pt modelId="{493A4501-4EF9-407C-9717-4C5B363E9E71}" type="pres">
      <dgm:prSet presAssocID="{30585C32-05B5-4029-BB3C-884F1ECC6401}" presName="hierChild5" presStyleCnt="0"/>
      <dgm:spPr/>
    </dgm:pt>
    <dgm:pt modelId="{8A0871EB-C477-4291-A64B-48C07D49370F}" type="pres">
      <dgm:prSet presAssocID="{6404A58B-9A22-4D67-886B-187ECEA3DD66}" presName="Name28" presStyleLbl="parChTrans1D2" presStyleIdx="1" presStyleCnt="2"/>
      <dgm:spPr/>
    </dgm:pt>
    <dgm:pt modelId="{189CC9AF-D303-45B5-BDDC-0D641D3233DF}" type="pres">
      <dgm:prSet presAssocID="{4EC5B69F-90CA-49E1-AFA9-391DA0299EA6}" presName="hierRoot2" presStyleCnt="0">
        <dgm:presLayoutVars>
          <dgm:hierBranch val="init"/>
        </dgm:presLayoutVars>
      </dgm:prSet>
      <dgm:spPr/>
    </dgm:pt>
    <dgm:pt modelId="{5F643D5A-ACA1-4841-BD92-C6454C399BFE}" type="pres">
      <dgm:prSet presAssocID="{4EC5B69F-90CA-49E1-AFA9-391DA0299EA6}" presName="rootComposite2" presStyleCnt="0"/>
      <dgm:spPr/>
    </dgm:pt>
    <dgm:pt modelId="{F61C4F53-6E8D-4136-9688-E4843CA434F6}" type="pres">
      <dgm:prSet presAssocID="{4EC5B69F-90CA-49E1-AFA9-391DA0299EA6}" presName="rootText2" presStyleLbl="alignAcc1" presStyleIdx="0" presStyleCnt="0">
        <dgm:presLayoutVars>
          <dgm:chPref val="3"/>
        </dgm:presLayoutVars>
      </dgm:prSet>
      <dgm:spPr/>
    </dgm:pt>
    <dgm:pt modelId="{8806876B-01C3-4D56-920D-294E7D8EC53C}" type="pres">
      <dgm:prSet presAssocID="{4EC5B69F-90CA-49E1-AFA9-391DA0299EA6}" presName="topArc2" presStyleLbl="parChTrans1D1" presStyleIdx="4" presStyleCnt="6"/>
      <dgm:spPr/>
    </dgm:pt>
    <dgm:pt modelId="{58C76FB1-C0AB-4781-A1AB-5B654262FFF5}" type="pres">
      <dgm:prSet presAssocID="{4EC5B69F-90CA-49E1-AFA9-391DA0299EA6}" presName="bottomArc2" presStyleLbl="parChTrans1D1" presStyleIdx="5" presStyleCnt="6"/>
      <dgm:spPr/>
    </dgm:pt>
    <dgm:pt modelId="{0717CC05-88DC-4286-8ABA-6A69E9113B86}" type="pres">
      <dgm:prSet presAssocID="{4EC5B69F-90CA-49E1-AFA9-391DA0299EA6}" presName="topConnNode2" presStyleLbl="node2" presStyleIdx="0" presStyleCnt="0"/>
      <dgm:spPr/>
    </dgm:pt>
    <dgm:pt modelId="{D8BC065B-4F1C-4322-934F-3E3D352D4F92}" type="pres">
      <dgm:prSet presAssocID="{4EC5B69F-90CA-49E1-AFA9-391DA0299EA6}" presName="hierChild4" presStyleCnt="0"/>
      <dgm:spPr/>
    </dgm:pt>
    <dgm:pt modelId="{9A9407D2-4B74-4AB4-AC3F-83C56FD8D11D}" type="pres">
      <dgm:prSet presAssocID="{4EC5B69F-90CA-49E1-AFA9-391DA0299EA6}" presName="hierChild5" presStyleCnt="0"/>
      <dgm:spPr/>
    </dgm:pt>
    <dgm:pt modelId="{D4B077F2-35F5-4389-9EA2-AEE9D98C2BB6}" type="pres">
      <dgm:prSet presAssocID="{286A3C11-66A0-4392-A75E-18F9217121EF}" presName="hierChild3" presStyleCnt="0"/>
      <dgm:spPr/>
    </dgm:pt>
  </dgm:ptLst>
  <dgm:cxnLst>
    <dgm:cxn modelId="{06199C17-7765-4F18-9016-5231BA8929B0}" type="presOf" srcId="{30585C32-05B5-4029-BB3C-884F1ECC6401}" destId="{F9B00FE7-30F0-4329-A875-8A2C400880D9}" srcOrd="0" destOrd="0" presId="urn:microsoft.com/office/officeart/2008/layout/HalfCircleOrganizationChart"/>
    <dgm:cxn modelId="{7550871D-02FC-4AE0-93AE-5B6D41762F19}" type="presOf" srcId="{501A5B96-0E9E-4A13-8048-7C3A424D7307}" destId="{207D989A-855E-44C3-9D5D-1E3773BB8AD7}" srcOrd="0" destOrd="0" presId="urn:microsoft.com/office/officeart/2008/layout/HalfCircleOrganizationChart"/>
    <dgm:cxn modelId="{7E871424-F8ED-44BE-98CF-B960E71485B3}" type="presOf" srcId="{286A3C11-66A0-4392-A75E-18F9217121EF}" destId="{7355F03C-EE5A-4959-9DE0-F63F057ADAC9}" srcOrd="0" destOrd="0" presId="urn:microsoft.com/office/officeart/2008/layout/HalfCircleOrganizationChart"/>
    <dgm:cxn modelId="{ECDE8E2A-84F8-4A6F-A0EA-27D9990928D3}" type="presOf" srcId="{30585C32-05B5-4029-BB3C-884F1ECC6401}" destId="{DC3AEB02-03E3-4D19-814C-763457B89BB0}" srcOrd="1" destOrd="0" presId="urn:microsoft.com/office/officeart/2008/layout/HalfCircleOrganizationChart"/>
    <dgm:cxn modelId="{FF259534-65E9-47B8-AEE1-41608F6585C5}" type="presOf" srcId="{286A3C11-66A0-4392-A75E-18F9217121EF}" destId="{991AAEE8-9965-46B7-8A92-92174922DCC2}" srcOrd="1" destOrd="0" presId="urn:microsoft.com/office/officeart/2008/layout/HalfCircleOrganizationChart"/>
    <dgm:cxn modelId="{B7D05A55-928E-4AD8-A5BC-DD663A319834}" srcId="{286A3C11-66A0-4392-A75E-18F9217121EF}" destId="{30585C32-05B5-4029-BB3C-884F1ECC6401}" srcOrd="0" destOrd="0" parTransId="{16F70D96-B982-443A-8DE5-28CE4F9114DD}" sibTransId="{CBA13627-0FA8-4399-89B0-5ACBD42925E2}"/>
    <dgm:cxn modelId="{40F58956-B8F2-42CA-833F-0647B03A8DB6}" type="presOf" srcId="{4EC5B69F-90CA-49E1-AFA9-391DA0299EA6}" destId="{0717CC05-88DC-4286-8ABA-6A69E9113B86}" srcOrd="1" destOrd="0" presId="urn:microsoft.com/office/officeart/2008/layout/HalfCircleOrganizationChart"/>
    <dgm:cxn modelId="{ECD2E279-1860-4A51-8D04-EA5A8D985BE9}" type="presOf" srcId="{4EC5B69F-90CA-49E1-AFA9-391DA0299EA6}" destId="{F61C4F53-6E8D-4136-9688-E4843CA434F6}" srcOrd="0" destOrd="0" presId="urn:microsoft.com/office/officeart/2008/layout/HalfCircleOrganizationChart"/>
    <dgm:cxn modelId="{C98C4D85-2520-4E5E-97B8-3F721620CEBE}" type="presOf" srcId="{16F70D96-B982-443A-8DE5-28CE4F9114DD}" destId="{23A2CD36-8EED-4882-B815-D20952725A91}" srcOrd="0" destOrd="0" presId="urn:microsoft.com/office/officeart/2008/layout/HalfCircleOrganizationChart"/>
    <dgm:cxn modelId="{80676B96-CE97-41EA-A967-109873A1D0AB}" srcId="{501A5B96-0E9E-4A13-8048-7C3A424D7307}" destId="{286A3C11-66A0-4392-A75E-18F9217121EF}" srcOrd="0" destOrd="0" parTransId="{AC9C5ED2-1FB9-4A14-8959-6F3C6012D00E}" sibTransId="{FAEA0213-B286-41D0-B625-515B8604BC5E}"/>
    <dgm:cxn modelId="{62B542B6-E053-46CA-9E57-BC727D1F447F}" srcId="{286A3C11-66A0-4392-A75E-18F9217121EF}" destId="{4EC5B69F-90CA-49E1-AFA9-391DA0299EA6}" srcOrd="1" destOrd="0" parTransId="{6404A58B-9A22-4D67-886B-187ECEA3DD66}" sibTransId="{8B513E91-8C8B-437D-A462-022411E6A63D}"/>
    <dgm:cxn modelId="{BAAEB2CA-EDDE-4903-8023-4FA1F2742457}" type="presOf" srcId="{6404A58B-9A22-4D67-886B-187ECEA3DD66}" destId="{8A0871EB-C477-4291-A64B-48C07D49370F}" srcOrd="0" destOrd="0" presId="urn:microsoft.com/office/officeart/2008/layout/HalfCircleOrganizationChart"/>
    <dgm:cxn modelId="{DA4A32FE-BE24-43FA-BD43-5A5712CBCB6C}" type="presParOf" srcId="{207D989A-855E-44C3-9D5D-1E3773BB8AD7}" destId="{7189718C-2990-4F95-9F80-3BA79C5725FC}" srcOrd="0" destOrd="0" presId="urn:microsoft.com/office/officeart/2008/layout/HalfCircleOrganizationChart"/>
    <dgm:cxn modelId="{3C142C4D-64E0-4D07-9C79-1C58073AA131}" type="presParOf" srcId="{7189718C-2990-4F95-9F80-3BA79C5725FC}" destId="{6544FB63-65CE-470C-9D0A-CEDCF2D88524}" srcOrd="0" destOrd="0" presId="urn:microsoft.com/office/officeart/2008/layout/HalfCircleOrganizationChart"/>
    <dgm:cxn modelId="{4BE128E3-5CCB-4264-B815-A224E202EB8F}" type="presParOf" srcId="{6544FB63-65CE-470C-9D0A-CEDCF2D88524}" destId="{7355F03C-EE5A-4959-9DE0-F63F057ADAC9}" srcOrd="0" destOrd="0" presId="urn:microsoft.com/office/officeart/2008/layout/HalfCircleOrganizationChart"/>
    <dgm:cxn modelId="{6A143D6B-4756-43C8-BA1B-636452C0E4A2}" type="presParOf" srcId="{6544FB63-65CE-470C-9D0A-CEDCF2D88524}" destId="{270D41F9-1FAA-43C6-B735-E93EFF2CE585}" srcOrd="1" destOrd="0" presId="urn:microsoft.com/office/officeart/2008/layout/HalfCircleOrganizationChart"/>
    <dgm:cxn modelId="{5301BD4A-5913-4971-8031-5DA26E3691A5}" type="presParOf" srcId="{6544FB63-65CE-470C-9D0A-CEDCF2D88524}" destId="{CFE8DBAF-CC35-42EF-B5AA-DA81370D66E0}" srcOrd="2" destOrd="0" presId="urn:microsoft.com/office/officeart/2008/layout/HalfCircleOrganizationChart"/>
    <dgm:cxn modelId="{3BE4A499-2A9B-4560-9E9B-5065E75B8A1D}" type="presParOf" srcId="{6544FB63-65CE-470C-9D0A-CEDCF2D88524}" destId="{991AAEE8-9965-46B7-8A92-92174922DCC2}" srcOrd="3" destOrd="0" presId="urn:microsoft.com/office/officeart/2008/layout/HalfCircleOrganizationChart"/>
    <dgm:cxn modelId="{495BEEA5-BF91-4B4E-A2CF-4959ABE95219}" type="presParOf" srcId="{7189718C-2990-4F95-9F80-3BA79C5725FC}" destId="{6E23183E-FEBC-40CC-924F-A3994B9BC69F}" srcOrd="1" destOrd="0" presId="urn:microsoft.com/office/officeart/2008/layout/HalfCircleOrganizationChart"/>
    <dgm:cxn modelId="{3AC5B86A-4F67-40E8-A5DB-490F6DF9C273}" type="presParOf" srcId="{6E23183E-FEBC-40CC-924F-A3994B9BC69F}" destId="{23A2CD36-8EED-4882-B815-D20952725A91}" srcOrd="0" destOrd="0" presId="urn:microsoft.com/office/officeart/2008/layout/HalfCircleOrganizationChart"/>
    <dgm:cxn modelId="{66508878-423D-427E-8D81-886F73490718}" type="presParOf" srcId="{6E23183E-FEBC-40CC-924F-A3994B9BC69F}" destId="{DA8CEC43-AC01-41A9-BD4E-666F757B4F95}" srcOrd="1" destOrd="0" presId="urn:microsoft.com/office/officeart/2008/layout/HalfCircleOrganizationChart"/>
    <dgm:cxn modelId="{F329B0DD-D423-42E2-B8D5-8317FDA3066F}" type="presParOf" srcId="{DA8CEC43-AC01-41A9-BD4E-666F757B4F95}" destId="{A3CA8262-C7CA-4DBB-ADFC-F9E33B089FB7}" srcOrd="0" destOrd="0" presId="urn:microsoft.com/office/officeart/2008/layout/HalfCircleOrganizationChart"/>
    <dgm:cxn modelId="{ED3E2430-BC60-44AA-B18F-08310D3F43C7}" type="presParOf" srcId="{A3CA8262-C7CA-4DBB-ADFC-F9E33B089FB7}" destId="{F9B00FE7-30F0-4329-A875-8A2C400880D9}" srcOrd="0" destOrd="0" presId="urn:microsoft.com/office/officeart/2008/layout/HalfCircleOrganizationChart"/>
    <dgm:cxn modelId="{E441D39A-3049-459D-B5F2-5B14D856B99A}" type="presParOf" srcId="{A3CA8262-C7CA-4DBB-ADFC-F9E33B089FB7}" destId="{356A58B7-8578-4B2F-8F8D-26F124215185}" srcOrd="1" destOrd="0" presId="urn:microsoft.com/office/officeart/2008/layout/HalfCircleOrganizationChart"/>
    <dgm:cxn modelId="{B2408B89-7220-44A1-BB23-E99FF7F1E8F9}" type="presParOf" srcId="{A3CA8262-C7CA-4DBB-ADFC-F9E33B089FB7}" destId="{4490F96E-D20C-454F-930E-0CB6E29EB327}" srcOrd="2" destOrd="0" presId="urn:microsoft.com/office/officeart/2008/layout/HalfCircleOrganizationChart"/>
    <dgm:cxn modelId="{6949AAD2-3941-40F5-ABFF-B471D074F81A}" type="presParOf" srcId="{A3CA8262-C7CA-4DBB-ADFC-F9E33B089FB7}" destId="{DC3AEB02-03E3-4D19-814C-763457B89BB0}" srcOrd="3" destOrd="0" presId="urn:microsoft.com/office/officeart/2008/layout/HalfCircleOrganizationChart"/>
    <dgm:cxn modelId="{A5DF2161-1776-4006-9A25-F1459492AF70}" type="presParOf" srcId="{DA8CEC43-AC01-41A9-BD4E-666F757B4F95}" destId="{E661A42D-3386-4C4A-9B19-EB70D6609126}" srcOrd="1" destOrd="0" presId="urn:microsoft.com/office/officeart/2008/layout/HalfCircleOrganizationChart"/>
    <dgm:cxn modelId="{2F45D7B2-A2B1-46DA-9D87-7DAEE8EC2051}" type="presParOf" srcId="{DA8CEC43-AC01-41A9-BD4E-666F757B4F95}" destId="{493A4501-4EF9-407C-9717-4C5B363E9E71}" srcOrd="2" destOrd="0" presId="urn:microsoft.com/office/officeart/2008/layout/HalfCircleOrganizationChart"/>
    <dgm:cxn modelId="{6E8497E0-D72F-4139-B471-B706252F4F4E}" type="presParOf" srcId="{6E23183E-FEBC-40CC-924F-A3994B9BC69F}" destId="{8A0871EB-C477-4291-A64B-48C07D49370F}" srcOrd="2" destOrd="0" presId="urn:microsoft.com/office/officeart/2008/layout/HalfCircleOrganizationChart"/>
    <dgm:cxn modelId="{EBA44EBA-B90B-42A5-941F-42FC08A17FDA}" type="presParOf" srcId="{6E23183E-FEBC-40CC-924F-A3994B9BC69F}" destId="{189CC9AF-D303-45B5-BDDC-0D641D3233DF}" srcOrd="3" destOrd="0" presId="urn:microsoft.com/office/officeart/2008/layout/HalfCircleOrganizationChart"/>
    <dgm:cxn modelId="{4A2D911F-21D0-4B04-9264-1C38939FDDE9}" type="presParOf" srcId="{189CC9AF-D303-45B5-BDDC-0D641D3233DF}" destId="{5F643D5A-ACA1-4841-BD92-C6454C399BFE}" srcOrd="0" destOrd="0" presId="urn:microsoft.com/office/officeart/2008/layout/HalfCircleOrganizationChart"/>
    <dgm:cxn modelId="{C45EC66E-2EE7-4757-BF1B-A4484A12818A}" type="presParOf" srcId="{5F643D5A-ACA1-4841-BD92-C6454C399BFE}" destId="{F61C4F53-6E8D-4136-9688-E4843CA434F6}" srcOrd="0" destOrd="0" presId="urn:microsoft.com/office/officeart/2008/layout/HalfCircleOrganizationChart"/>
    <dgm:cxn modelId="{50C65343-5264-4D0E-B69B-B6152B8B2298}" type="presParOf" srcId="{5F643D5A-ACA1-4841-BD92-C6454C399BFE}" destId="{8806876B-01C3-4D56-920D-294E7D8EC53C}" srcOrd="1" destOrd="0" presId="urn:microsoft.com/office/officeart/2008/layout/HalfCircleOrganizationChart"/>
    <dgm:cxn modelId="{B79C3EB4-45B6-42FF-BE5B-C92C8D9F31B7}" type="presParOf" srcId="{5F643D5A-ACA1-4841-BD92-C6454C399BFE}" destId="{58C76FB1-C0AB-4781-A1AB-5B654262FFF5}" srcOrd="2" destOrd="0" presId="urn:microsoft.com/office/officeart/2008/layout/HalfCircleOrganizationChart"/>
    <dgm:cxn modelId="{B592862C-5384-47F5-8229-2DC4F0477A91}" type="presParOf" srcId="{5F643D5A-ACA1-4841-BD92-C6454C399BFE}" destId="{0717CC05-88DC-4286-8ABA-6A69E9113B86}" srcOrd="3" destOrd="0" presId="urn:microsoft.com/office/officeart/2008/layout/HalfCircleOrganizationChart"/>
    <dgm:cxn modelId="{F3FB06F9-385D-405D-A459-589B3CEF8E73}" type="presParOf" srcId="{189CC9AF-D303-45B5-BDDC-0D641D3233DF}" destId="{D8BC065B-4F1C-4322-934F-3E3D352D4F92}" srcOrd="1" destOrd="0" presId="urn:microsoft.com/office/officeart/2008/layout/HalfCircleOrganizationChart"/>
    <dgm:cxn modelId="{C4F5A734-5B31-4FE3-90BD-73747F337E34}" type="presParOf" srcId="{189CC9AF-D303-45B5-BDDC-0D641D3233DF}" destId="{9A9407D2-4B74-4AB4-AC3F-83C56FD8D11D}" srcOrd="2" destOrd="0" presId="urn:microsoft.com/office/officeart/2008/layout/HalfCircleOrganizationChart"/>
    <dgm:cxn modelId="{1333981C-D70B-4BB6-8444-DF687F2368C7}" type="presParOf" srcId="{7189718C-2990-4F95-9F80-3BA79C5725FC}" destId="{D4B077F2-35F5-4389-9EA2-AEE9D98C2BB6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9DB54F3-EB74-4B56-9052-C71CD579E8E9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9CBB1935-C57A-4D76-9509-3EE50289603C}">
      <dgm:prSet phldrT="[Text]" custT="1"/>
      <dgm:spPr/>
      <dgm:t>
        <a:bodyPr/>
        <a:lstStyle/>
        <a:p>
          <a:endParaRPr lang="nl-NL" sz="1800" dirty="0"/>
        </a:p>
        <a:p>
          <a:r>
            <a:rPr lang="nl-NL" sz="1800" dirty="0" err="1"/>
            <a:t>Improve</a:t>
          </a:r>
          <a:r>
            <a:rPr lang="nl-NL" sz="1800" dirty="0"/>
            <a:t> </a:t>
          </a:r>
        </a:p>
        <a:p>
          <a:r>
            <a:rPr lang="nl-NL" sz="1800" dirty="0" err="1"/>
            <a:t>processes</a:t>
          </a:r>
          <a:endParaRPr lang="nl-NL" sz="1800" dirty="0"/>
        </a:p>
      </dgm:t>
    </dgm:pt>
    <dgm:pt modelId="{7D49E3EF-A817-4D2F-AC99-3C3349FF744D}" type="parTrans" cxnId="{922DED8C-3799-405B-9AAE-328B30F1156B}">
      <dgm:prSet/>
      <dgm:spPr/>
      <dgm:t>
        <a:bodyPr/>
        <a:lstStyle/>
        <a:p>
          <a:endParaRPr lang="nl-NL"/>
        </a:p>
      </dgm:t>
    </dgm:pt>
    <dgm:pt modelId="{D26A5A74-EC82-4E9F-A38E-AE5F3B353DE4}" type="sibTrans" cxnId="{922DED8C-3799-405B-9AAE-328B30F1156B}">
      <dgm:prSet/>
      <dgm:spPr/>
      <dgm:t>
        <a:bodyPr/>
        <a:lstStyle/>
        <a:p>
          <a:endParaRPr lang="nl-NL"/>
        </a:p>
      </dgm:t>
    </dgm:pt>
    <dgm:pt modelId="{E242A289-AEF0-480C-BCF1-C11F5E440218}">
      <dgm:prSet phldrT="[Text]" custT="1"/>
      <dgm:spPr/>
      <dgm:t>
        <a:bodyPr/>
        <a:lstStyle/>
        <a:p>
          <a:r>
            <a:rPr lang="nl-NL" sz="1800" dirty="0"/>
            <a:t>Events </a:t>
          </a:r>
          <a:r>
            <a:rPr lang="nl-NL" sz="1800" dirty="0" err="1"/>
            <a:t>impossible</a:t>
          </a:r>
          <a:r>
            <a:rPr lang="nl-NL" sz="1800" dirty="0"/>
            <a:t> </a:t>
          </a:r>
          <a:r>
            <a:rPr lang="nl-NL" sz="1800" dirty="0" err="1"/>
            <a:t>to</a:t>
          </a:r>
          <a:r>
            <a:rPr lang="nl-NL" sz="1800" dirty="0"/>
            <a:t> </a:t>
          </a:r>
          <a:r>
            <a:rPr lang="nl-NL" sz="1800" dirty="0" err="1"/>
            <a:t>analyze</a:t>
          </a:r>
          <a:endParaRPr lang="nl-NL" sz="1800" dirty="0"/>
        </a:p>
      </dgm:t>
    </dgm:pt>
    <dgm:pt modelId="{2333A58E-538F-4CFE-950B-92F5D1BE31D0}" type="parTrans" cxnId="{79CF29A4-B26C-47F5-8440-86651732ACDE}">
      <dgm:prSet/>
      <dgm:spPr/>
      <dgm:t>
        <a:bodyPr/>
        <a:lstStyle/>
        <a:p>
          <a:endParaRPr lang="nl-NL"/>
        </a:p>
      </dgm:t>
    </dgm:pt>
    <dgm:pt modelId="{66138257-EB86-4738-A3E6-52CA29FC6CAA}" type="sibTrans" cxnId="{79CF29A4-B26C-47F5-8440-86651732ACDE}">
      <dgm:prSet/>
      <dgm:spPr/>
      <dgm:t>
        <a:bodyPr/>
        <a:lstStyle/>
        <a:p>
          <a:endParaRPr lang="nl-NL"/>
        </a:p>
      </dgm:t>
    </dgm:pt>
    <dgm:pt modelId="{7B6C6279-2386-43E2-B7E2-23D5EA7ACD49}">
      <dgm:prSet phldrT="[Text]" custT="1"/>
      <dgm:spPr/>
      <dgm:t>
        <a:bodyPr/>
        <a:lstStyle/>
        <a:p>
          <a:r>
            <a:rPr lang="nl-NL" sz="1800" dirty="0"/>
            <a:t>Wrong analysis’ </a:t>
          </a:r>
          <a:r>
            <a:rPr lang="nl-NL" sz="1800" dirty="0" err="1"/>
            <a:t>conclusions</a:t>
          </a:r>
          <a:endParaRPr lang="nl-NL" sz="1800" dirty="0"/>
        </a:p>
      </dgm:t>
    </dgm:pt>
    <dgm:pt modelId="{83B3DC6A-B897-445D-86A2-B734CE665754}" type="parTrans" cxnId="{8D0F75F8-FA4C-4E62-8A45-7713982ADF30}">
      <dgm:prSet/>
      <dgm:spPr/>
      <dgm:t>
        <a:bodyPr/>
        <a:lstStyle/>
        <a:p>
          <a:endParaRPr lang="nl-NL"/>
        </a:p>
      </dgm:t>
    </dgm:pt>
    <dgm:pt modelId="{31CD0436-13B0-480D-B093-7EAF2A068CCD}" type="sibTrans" cxnId="{8D0F75F8-FA4C-4E62-8A45-7713982ADF30}">
      <dgm:prSet/>
      <dgm:spPr/>
      <dgm:t>
        <a:bodyPr/>
        <a:lstStyle/>
        <a:p>
          <a:endParaRPr lang="nl-NL"/>
        </a:p>
      </dgm:t>
    </dgm:pt>
    <dgm:pt modelId="{3C41118A-4B33-493E-BA17-CC188350BD82}" type="pres">
      <dgm:prSet presAssocID="{39DB54F3-EB74-4B56-9052-C71CD579E8E9}" presName="Name0" presStyleCnt="0">
        <dgm:presLayoutVars>
          <dgm:dir/>
          <dgm:animLvl val="lvl"/>
          <dgm:resizeHandles val="exact"/>
        </dgm:presLayoutVars>
      </dgm:prSet>
      <dgm:spPr/>
    </dgm:pt>
    <dgm:pt modelId="{8EC7BBD1-40F0-4EFF-9085-355404F57276}" type="pres">
      <dgm:prSet presAssocID="{9CBB1935-C57A-4D76-9509-3EE50289603C}" presName="Name8" presStyleCnt="0"/>
      <dgm:spPr/>
    </dgm:pt>
    <dgm:pt modelId="{2EEABE93-986E-44AC-9143-71AE418B5BCF}" type="pres">
      <dgm:prSet presAssocID="{9CBB1935-C57A-4D76-9509-3EE50289603C}" presName="level" presStyleLbl="node1" presStyleIdx="0" presStyleCnt="3">
        <dgm:presLayoutVars>
          <dgm:chMax val="1"/>
          <dgm:bulletEnabled val="1"/>
        </dgm:presLayoutVars>
      </dgm:prSet>
      <dgm:spPr/>
    </dgm:pt>
    <dgm:pt modelId="{6D6F27A5-CC62-433C-995D-4D883F2A47C5}" type="pres">
      <dgm:prSet presAssocID="{9CBB1935-C57A-4D76-9509-3EE50289603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716AE03-C40D-431E-8170-522EDB11198B}" type="pres">
      <dgm:prSet presAssocID="{E242A289-AEF0-480C-BCF1-C11F5E440218}" presName="Name8" presStyleCnt="0"/>
      <dgm:spPr/>
    </dgm:pt>
    <dgm:pt modelId="{7850741F-7F5E-42AB-889C-A9B0E155B8C2}" type="pres">
      <dgm:prSet presAssocID="{E242A289-AEF0-480C-BCF1-C11F5E440218}" presName="level" presStyleLbl="node1" presStyleIdx="1" presStyleCnt="3">
        <dgm:presLayoutVars>
          <dgm:chMax val="1"/>
          <dgm:bulletEnabled val="1"/>
        </dgm:presLayoutVars>
      </dgm:prSet>
      <dgm:spPr/>
    </dgm:pt>
    <dgm:pt modelId="{FA78172E-C510-4BEC-9AD0-24C749C7D2E5}" type="pres">
      <dgm:prSet presAssocID="{E242A289-AEF0-480C-BCF1-C11F5E44021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F4B36F2-4F64-4539-A9D8-7160E3126C87}" type="pres">
      <dgm:prSet presAssocID="{7B6C6279-2386-43E2-B7E2-23D5EA7ACD49}" presName="Name8" presStyleCnt="0"/>
      <dgm:spPr/>
    </dgm:pt>
    <dgm:pt modelId="{3E499304-3D77-49E5-B823-FF4DDD984E33}" type="pres">
      <dgm:prSet presAssocID="{7B6C6279-2386-43E2-B7E2-23D5EA7ACD49}" presName="level" presStyleLbl="node1" presStyleIdx="2" presStyleCnt="3">
        <dgm:presLayoutVars>
          <dgm:chMax val="1"/>
          <dgm:bulletEnabled val="1"/>
        </dgm:presLayoutVars>
      </dgm:prSet>
      <dgm:spPr/>
    </dgm:pt>
    <dgm:pt modelId="{6E0C215A-025B-45D0-ACAD-1C2DD6451C41}" type="pres">
      <dgm:prSet presAssocID="{7B6C6279-2386-43E2-B7E2-23D5EA7ACD49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D981025-0DA6-44B8-AC9C-2E892B028665}" type="presOf" srcId="{7B6C6279-2386-43E2-B7E2-23D5EA7ACD49}" destId="{6E0C215A-025B-45D0-ACAD-1C2DD6451C41}" srcOrd="1" destOrd="0" presId="urn:microsoft.com/office/officeart/2005/8/layout/pyramid1"/>
    <dgm:cxn modelId="{058C7F31-63DD-4462-ABDB-87FC509C616E}" type="presOf" srcId="{7B6C6279-2386-43E2-B7E2-23D5EA7ACD49}" destId="{3E499304-3D77-49E5-B823-FF4DDD984E33}" srcOrd="0" destOrd="0" presId="urn:microsoft.com/office/officeart/2005/8/layout/pyramid1"/>
    <dgm:cxn modelId="{E8B64461-80FE-41FD-879E-149E6A12B737}" type="presOf" srcId="{39DB54F3-EB74-4B56-9052-C71CD579E8E9}" destId="{3C41118A-4B33-493E-BA17-CC188350BD82}" srcOrd="0" destOrd="0" presId="urn:microsoft.com/office/officeart/2005/8/layout/pyramid1"/>
    <dgm:cxn modelId="{16A7E469-E8F6-4FF8-B54B-47D7FADD3905}" type="presOf" srcId="{E242A289-AEF0-480C-BCF1-C11F5E440218}" destId="{FA78172E-C510-4BEC-9AD0-24C749C7D2E5}" srcOrd="1" destOrd="0" presId="urn:microsoft.com/office/officeart/2005/8/layout/pyramid1"/>
    <dgm:cxn modelId="{C91E3F79-408A-4304-AAD2-BD6513AB36B3}" type="presOf" srcId="{E242A289-AEF0-480C-BCF1-C11F5E440218}" destId="{7850741F-7F5E-42AB-889C-A9B0E155B8C2}" srcOrd="0" destOrd="0" presId="urn:microsoft.com/office/officeart/2005/8/layout/pyramid1"/>
    <dgm:cxn modelId="{922DED8C-3799-405B-9AAE-328B30F1156B}" srcId="{39DB54F3-EB74-4B56-9052-C71CD579E8E9}" destId="{9CBB1935-C57A-4D76-9509-3EE50289603C}" srcOrd="0" destOrd="0" parTransId="{7D49E3EF-A817-4D2F-AC99-3C3349FF744D}" sibTransId="{D26A5A74-EC82-4E9F-A38E-AE5F3B353DE4}"/>
    <dgm:cxn modelId="{D56B9AA1-863A-48F5-8AE4-B371FFD2692A}" type="presOf" srcId="{9CBB1935-C57A-4D76-9509-3EE50289603C}" destId="{2EEABE93-986E-44AC-9143-71AE418B5BCF}" srcOrd="0" destOrd="0" presId="urn:microsoft.com/office/officeart/2005/8/layout/pyramid1"/>
    <dgm:cxn modelId="{79CF29A4-B26C-47F5-8440-86651732ACDE}" srcId="{39DB54F3-EB74-4B56-9052-C71CD579E8E9}" destId="{E242A289-AEF0-480C-BCF1-C11F5E440218}" srcOrd="1" destOrd="0" parTransId="{2333A58E-538F-4CFE-950B-92F5D1BE31D0}" sibTransId="{66138257-EB86-4738-A3E6-52CA29FC6CAA}"/>
    <dgm:cxn modelId="{A4136BE2-90DB-4760-8B64-441BB62128DE}" type="presOf" srcId="{9CBB1935-C57A-4D76-9509-3EE50289603C}" destId="{6D6F27A5-CC62-433C-995D-4D883F2A47C5}" srcOrd="1" destOrd="0" presId="urn:microsoft.com/office/officeart/2005/8/layout/pyramid1"/>
    <dgm:cxn modelId="{8D0F75F8-FA4C-4E62-8A45-7713982ADF30}" srcId="{39DB54F3-EB74-4B56-9052-C71CD579E8E9}" destId="{7B6C6279-2386-43E2-B7E2-23D5EA7ACD49}" srcOrd="2" destOrd="0" parTransId="{83B3DC6A-B897-445D-86A2-B734CE665754}" sibTransId="{31CD0436-13B0-480D-B093-7EAF2A068CCD}"/>
    <dgm:cxn modelId="{BD06BC53-BEA8-40A6-8CCF-491E523EB986}" type="presParOf" srcId="{3C41118A-4B33-493E-BA17-CC188350BD82}" destId="{8EC7BBD1-40F0-4EFF-9085-355404F57276}" srcOrd="0" destOrd="0" presId="urn:microsoft.com/office/officeart/2005/8/layout/pyramid1"/>
    <dgm:cxn modelId="{65DA5201-A257-4E13-B2D5-DF19AFF626DA}" type="presParOf" srcId="{8EC7BBD1-40F0-4EFF-9085-355404F57276}" destId="{2EEABE93-986E-44AC-9143-71AE418B5BCF}" srcOrd="0" destOrd="0" presId="urn:microsoft.com/office/officeart/2005/8/layout/pyramid1"/>
    <dgm:cxn modelId="{6A896C74-FB40-4119-8A0D-F07C9C90AC0E}" type="presParOf" srcId="{8EC7BBD1-40F0-4EFF-9085-355404F57276}" destId="{6D6F27A5-CC62-433C-995D-4D883F2A47C5}" srcOrd="1" destOrd="0" presId="urn:microsoft.com/office/officeart/2005/8/layout/pyramid1"/>
    <dgm:cxn modelId="{A911FE4E-6554-434B-9C1E-D83403DDDE98}" type="presParOf" srcId="{3C41118A-4B33-493E-BA17-CC188350BD82}" destId="{9716AE03-C40D-431E-8170-522EDB11198B}" srcOrd="1" destOrd="0" presId="urn:microsoft.com/office/officeart/2005/8/layout/pyramid1"/>
    <dgm:cxn modelId="{0F01E6C3-66F8-4B58-8BC6-741F598B2CDF}" type="presParOf" srcId="{9716AE03-C40D-431E-8170-522EDB11198B}" destId="{7850741F-7F5E-42AB-889C-A9B0E155B8C2}" srcOrd="0" destOrd="0" presId="urn:microsoft.com/office/officeart/2005/8/layout/pyramid1"/>
    <dgm:cxn modelId="{90D6B556-567A-4D03-98BC-1C7006595928}" type="presParOf" srcId="{9716AE03-C40D-431E-8170-522EDB11198B}" destId="{FA78172E-C510-4BEC-9AD0-24C749C7D2E5}" srcOrd="1" destOrd="0" presId="urn:microsoft.com/office/officeart/2005/8/layout/pyramid1"/>
    <dgm:cxn modelId="{5BD81511-772A-4BE7-822D-3761A9A6BEE1}" type="presParOf" srcId="{3C41118A-4B33-493E-BA17-CC188350BD82}" destId="{EF4B36F2-4F64-4539-A9D8-7160E3126C87}" srcOrd="2" destOrd="0" presId="urn:microsoft.com/office/officeart/2005/8/layout/pyramid1"/>
    <dgm:cxn modelId="{1E3BA25D-19B3-4303-84FF-66CC59C8F34E}" type="presParOf" srcId="{EF4B36F2-4F64-4539-A9D8-7160E3126C87}" destId="{3E499304-3D77-49E5-B823-FF4DDD984E33}" srcOrd="0" destOrd="0" presId="urn:microsoft.com/office/officeart/2005/8/layout/pyramid1"/>
    <dgm:cxn modelId="{70536EE5-4650-4FCE-8F8D-E605901AD416}" type="presParOf" srcId="{EF4B36F2-4F64-4539-A9D8-7160E3126C87}" destId="{6E0C215A-025B-45D0-ACAD-1C2DD6451C41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AEACCE2-230C-4722-94F6-D162FA74D45B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27658AB6-1429-4042-B46E-73AB9D2AA87A}">
      <dgm:prSet phldrT="[Text]" custT="1"/>
      <dgm:spPr/>
      <dgm:t>
        <a:bodyPr/>
        <a:lstStyle/>
        <a:p>
          <a:r>
            <a:rPr lang="nl-NL" sz="1400" dirty="0"/>
            <a:t>Document </a:t>
          </a:r>
          <a:r>
            <a:rPr lang="nl-NL" sz="1400" dirty="0" err="1"/>
            <a:t>existing</a:t>
          </a:r>
          <a:r>
            <a:rPr lang="nl-NL" sz="1400" dirty="0"/>
            <a:t> </a:t>
          </a:r>
          <a:r>
            <a:rPr lang="nl-NL" sz="1400" dirty="0" err="1"/>
            <a:t>processes</a:t>
          </a:r>
          <a:endParaRPr lang="nl-NL" sz="1400" dirty="0"/>
        </a:p>
      </dgm:t>
    </dgm:pt>
    <dgm:pt modelId="{33E9B855-FCF0-4564-BE0A-6C2FE71B014A}" type="parTrans" cxnId="{11E279FD-C48B-4E3E-A224-E845DF07384F}">
      <dgm:prSet/>
      <dgm:spPr/>
      <dgm:t>
        <a:bodyPr/>
        <a:lstStyle/>
        <a:p>
          <a:endParaRPr lang="nl-NL"/>
        </a:p>
      </dgm:t>
    </dgm:pt>
    <dgm:pt modelId="{6C6E37EB-2E90-42F2-97D3-8FC8C89137A3}" type="sibTrans" cxnId="{11E279FD-C48B-4E3E-A224-E845DF07384F}">
      <dgm:prSet/>
      <dgm:spPr/>
      <dgm:t>
        <a:bodyPr/>
        <a:lstStyle/>
        <a:p>
          <a:endParaRPr lang="nl-NL"/>
        </a:p>
      </dgm:t>
    </dgm:pt>
    <dgm:pt modelId="{B5DC983D-7782-461D-A9F4-F024EC42E668}">
      <dgm:prSet phldrT="[Text]" custT="1"/>
      <dgm:spPr/>
      <dgm:t>
        <a:bodyPr/>
        <a:lstStyle/>
        <a:p>
          <a:r>
            <a:rPr lang="nl-NL" sz="1400" dirty="0" err="1"/>
            <a:t>Create</a:t>
          </a:r>
          <a:r>
            <a:rPr lang="nl-NL" sz="1400" dirty="0"/>
            <a:t> &amp; document non-</a:t>
          </a:r>
          <a:r>
            <a:rPr lang="nl-NL" sz="1400" dirty="0" err="1"/>
            <a:t>existing</a:t>
          </a:r>
          <a:r>
            <a:rPr lang="nl-NL" sz="1400" dirty="0"/>
            <a:t> </a:t>
          </a:r>
          <a:r>
            <a:rPr lang="nl-NL" sz="1400" dirty="0" err="1"/>
            <a:t>processes</a:t>
          </a:r>
          <a:endParaRPr lang="nl-NL" sz="1400" dirty="0"/>
        </a:p>
      </dgm:t>
    </dgm:pt>
    <dgm:pt modelId="{D8030045-6DCD-4869-AAC7-AFFFB19E271F}" type="parTrans" cxnId="{53AF50A9-DBF7-4140-9FEC-5A1101BFDD31}">
      <dgm:prSet/>
      <dgm:spPr/>
      <dgm:t>
        <a:bodyPr/>
        <a:lstStyle/>
        <a:p>
          <a:endParaRPr lang="nl-NL"/>
        </a:p>
      </dgm:t>
    </dgm:pt>
    <dgm:pt modelId="{DB94EA6C-3E93-47DE-B303-DC17AE053ACC}" type="sibTrans" cxnId="{53AF50A9-DBF7-4140-9FEC-5A1101BFDD31}">
      <dgm:prSet/>
      <dgm:spPr/>
      <dgm:t>
        <a:bodyPr/>
        <a:lstStyle/>
        <a:p>
          <a:endParaRPr lang="nl-NL"/>
        </a:p>
      </dgm:t>
    </dgm:pt>
    <dgm:pt modelId="{21F56941-3951-4737-B406-0D468C4747A8}" type="pres">
      <dgm:prSet presAssocID="{CAEACCE2-230C-4722-94F6-D162FA74D45B}" presName="arrowDiagram" presStyleCnt="0">
        <dgm:presLayoutVars>
          <dgm:chMax val="5"/>
          <dgm:dir/>
          <dgm:resizeHandles val="exact"/>
        </dgm:presLayoutVars>
      </dgm:prSet>
      <dgm:spPr/>
    </dgm:pt>
    <dgm:pt modelId="{A3506210-A2E9-45C3-B15E-52A018289898}" type="pres">
      <dgm:prSet presAssocID="{CAEACCE2-230C-4722-94F6-D162FA74D45B}" presName="arrow" presStyleLbl="bgShp" presStyleIdx="0" presStyleCnt="1" custAng="20896021" custLinFactNeighborX="5019" custLinFactNeighborY="18265"/>
      <dgm:spPr/>
    </dgm:pt>
    <dgm:pt modelId="{353E7C39-B9BD-47CC-8EB0-1C0EDA1189ED}" type="pres">
      <dgm:prSet presAssocID="{CAEACCE2-230C-4722-94F6-D162FA74D45B}" presName="arrowDiagram2" presStyleCnt="0"/>
      <dgm:spPr/>
    </dgm:pt>
    <dgm:pt modelId="{F67D16AE-DDF5-43DB-B5E1-B20D1D399927}" type="pres">
      <dgm:prSet presAssocID="{27658AB6-1429-4042-B46E-73AB9D2AA87A}" presName="bullet2a" presStyleLbl="node1" presStyleIdx="0" presStyleCnt="2"/>
      <dgm:spPr/>
    </dgm:pt>
    <dgm:pt modelId="{DE03FE9A-2A95-44B6-9772-1C9D44C6717B}" type="pres">
      <dgm:prSet presAssocID="{27658AB6-1429-4042-B46E-73AB9D2AA87A}" presName="textBox2a" presStyleLbl="revTx" presStyleIdx="0" presStyleCnt="2" custLinFactNeighborX="-11415" custLinFactNeighborY="13083">
        <dgm:presLayoutVars>
          <dgm:bulletEnabled val="1"/>
        </dgm:presLayoutVars>
      </dgm:prSet>
      <dgm:spPr/>
    </dgm:pt>
    <dgm:pt modelId="{0E9F56A8-EBCD-4504-A7A5-4AA8E6972122}" type="pres">
      <dgm:prSet presAssocID="{B5DC983D-7782-461D-A9F4-F024EC42E668}" presName="bullet2b" presStyleLbl="node1" presStyleIdx="1" presStyleCnt="2"/>
      <dgm:spPr/>
    </dgm:pt>
    <dgm:pt modelId="{4EF04CE8-B0BC-4D2C-B6F7-3E9EC5BD7E86}" type="pres">
      <dgm:prSet presAssocID="{B5DC983D-7782-461D-A9F4-F024EC42E668}" presName="textBox2b" presStyleLbl="revTx" presStyleIdx="1" presStyleCnt="2" custScaleX="115664" custScaleY="61628" custLinFactNeighborX="2686" custLinFactNeighborY="-10758">
        <dgm:presLayoutVars>
          <dgm:bulletEnabled val="1"/>
        </dgm:presLayoutVars>
      </dgm:prSet>
      <dgm:spPr/>
    </dgm:pt>
  </dgm:ptLst>
  <dgm:cxnLst>
    <dgm:cxn modelId="{EF8BFE47-7D29-42BA-AC77-B4D07FD8F615}" type="presOf" srcId="{27658AB6-1429-4042-B46E-73AB9D2AA87A}" destId="{DE03FE9A-2A95-44B6-9772-1C9D44C6717B}" srcOrd="0" destOrd="0" presId="urn:microsoft.com/office/officeart/2005/8/layout/arrow2"/>
    <dgm:cxn modelId="{53AF50A9-DBF7-4140-9FEC-5A1101BFDD31}" srcId="{CAEACCE2-230C-4722-94F6-D162FA74D45B}" destId="{B5DC983D-7782-461D-A9F4-F024EC42E668}" srcOrd="1" destOrd="0" parTransId="{D8030045-6DCD-4869-AAC7-AFFFB19E271F}" sibTransId="{DB94EA6C-3E93-47DE-B303-DC17AE053ACC}"/>
    <dgm:cxn modelId="{69A98ABB-8A01-4B88-88CF-DA5730DDE2D4}" type="presOf" srcId="{B5DC983D-7782-461D-A9F4-F024EC42E668}" destId="{4EF04CE8-B0BC-4D2C-B6F7-3E9EC5BD7E86}" srcOrd="0" destOrd="0" presId="urn:microsoft.com/office/officeart/2005/8/layout/arrow2"/>
    <dgm:cxn modelId="{73C032FA-01AD-4FC0-AA8C-F8237E315B4F}" type="presOf" srcId="{CAEACCE2-230C-4722-94F6-D162FA74D45B}" destId="{21F56941-3951-4737-B406-0D468C4747A8}" srcOrd="0" destOrd="0" presId="urn:microsoft.com/office/officeart/2005/8/layout/arrow2"/>
    <dgm:cxn modelId="{11E279FD-C48B-4E3E-A224-E845DF07384F}" srcId="{CAEACCE2-230C-4722-94F6-D162FA74D45B}" destId="{27658AB6-1429-4042-B46E-73AB9D2AA87A}" srcOrd="0" destOrd="0" parTransId="{33E9B855-FCF0-4564-BE0A-6C2FE71B014A}" sibTransId="{6C6E37EB-2E90-42F2-97D3-8FC8C89137A3}"/>
    <dgm:cxn modelId="{580B0C6B-FB9C-4C8F-B693-5FD9AF854C04}" type="presParOf" srcId="{21F56941-3951-4737-B406-0D468C4747A8}" destId="{A3506210-A2E9-45C3-B15E-52A018289898}" srcOrd="0" destOrd="0" presId="urn:microsoft.com/office/officeart/2005/8/layout/arrow2"/>
    <dgm:cxn modelId="{2DD19612-D14E-4930-81AB-9B9250AE0093}" type="presParOf" srcId="{21F56941-3951-4737-B406-0D468C4747A8}" destId="{353E7C39-B9BD-47CC-8EB0-1C0EDA1189ED}" srcOrd="1" destOrd="0" presId="urn:microsoft.com/office/officeart/2005/8/layout/arrow2"/>
    <dgm:cxn modelId="{5591EB7A-B358-4F6C-ADAE-6759158A44C0}" type="presParOf" srcId="{353E7C39-B9BD-47CC-8EB0-1C0EDA1189ED}" destId="{F67D16AE-DDF5-43DB-B5E1-B20D1D399927}" srcOrd="0" destOrd="0" presId="urn:microsoft.com/office/officeart/2005/8/layout/arrow2"/>
    <dgm:cxn modelId="{2A5535B3-FE6E-4EBA-A0C0-9CDF014CC031}" type="presParOf" srcId="{353E7C39-B9BD-47CC-8EB0-1C0EDA1189ED}" destId="{DE03FE9A-2A95-44B6-9772-1C9D44C6717B}" srcOrd="1" destOrd="0" presId="urn:microsoft.com/office/officeart/2005/8/layout/arrow2"/>
    <dgm:cxn modelId="{BDFE0D5B-8098-4081-AFA0-9C5E230E9391}" type="presParOf" srcId="{353E7C39-B9BD-47CC-8EB0-1C0EDA1189ED}" destId="{0E9F56A8-EBCD-4504-A7A5-4AA8E6972122}" srcOrd="2" destOrd="0" presId="urn:microsoft.com/office/officeart/2005/8/layout/arrow2"/>
    <dgm:cxn modelId="{E632337E-6DF2-4649-9C43-A511B3C84805}" type="presParOf" srcId="{353E7C39-B9BD-47CC-8EB0-1C0EDA1189ED}" destId="{4EF04CE8-B0BC-4D2C-B6F7-3E9EC5BD7E86}" srcOrd="3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F75BC33-99AD-40AD-A986-094715DD73C9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AC5A784C-963A-4230-BD3A-88C9498BAE12}">
      <dgm:prSet phldrT="[Text]" custT="1"/>
      <dgm:spPr/>
      <dgm:t>
        <a:bodyPr/>
        <a:lstStyle/>
        <a:p>
          <a:r>
            <a:rPr lang="nl-NL" sz="1800" dirty="0" err="1"/>
            <a:t>Future</a:t>
          </a:r>
          <a:endParaRPr lang="nl-NL" sz="1800" dirty="0"/>
        </a:p>
      </dgm:t>
    </dgm:pt>
    <dgm:pt modelId="{7AAF8459-561E-4994-866E-432CC3EBA21D}" type="parTrans" cxnId="{4BC6930B-C82C-4064-87D0-CC584FA87A96}">
      <dgm:prSet/>
      <dgm:spPr/>
      <dgm:t>
        <a:bodyPr/>
        <a:lstStyle/>
        <a:p>
          <a:endParaRPr lang="nl-NL"/>
        </a:p>
      </dgm:t>
    </dgm:pt>
    <dgm:pt modelId="{CC377AB5-D08E-47A6-9ACE-4D75F11019B8}" type="sibTrans" cxnId="{4BC6930B-C82C-4064-87D0-CC584FA87A96}">
      <dgm:prSet/>
      <dgm:spPr/>
      <dgm:t>
        <a:bodyPr/>
        <a:lstStyle/>
        <a:p>
          <a:endParaRPr lang="nl-NL"/>
        </a:p>
      </dgm:t>
    </dgm:pt>
    <dgm:pt modelId="{9597CDDA-6F1C-4D51-9935-33E7C10F20AF}">
      <dgm:prSet phldrT="[Text]" custT="1"/>
      <dgm:spPr/>
      <dgm:t>
        <a:bodyPr/>
        <a:lstStyle/>
        <a:p>
          <a:r>
            <a:rPr lang="nl-NL" sz="1800" dirty="0"/>
            <a:t>More </a:t>
          </a:r>
          <a:r>
            <a:rPr lang="nl-NL" sz="1800" dirty="0" err="1"/>
            <a:t>and</a:t>
          </a:r>
          <a:r>
            <a:rPr lang="nl-NL" sz="1800" dirty="0"/>
            <a:t> </a:t>
          </a:r>
          <a:r>
            <a:rPr lang="nl-NL" sz="1800" dirty="0" err="1"/>
            <a:t>better</a:t>
          </a:r>
          <a:r>
            <a:rPr lang="nl-NL" sz="1800" dirty="0"/>
            <a:t> data</a:t>
          </a:r>
        </a:p>
      </dgm:t>
    </dgm:pt>
    <dgm:pt modelId="{DFBE8CB6-68A6-4A15-BE51-C112351A33A9}" type="parTrans" cxnId="{3DD84844-006F-493E-BFAB-6A11F7C4E8B2}">
      <dgm:prSet/>
      <dgm:spPr/>
      <dgm:t>
        <a:bodyPr/>
        <a:lstStyle/>
        <a:p>
          <a:endParaRPr lang="nl-NL"/>
        </a:p>
      </dgm:t>
    </dgm:pt>
    <dgm:pt modelId="{9E1F724F-55B5-4F0C-8543-B66DA9C60F50}" type="sibTrans" cxnId="{3DD84844-006F-493E-BFAB-6A11F7C4E8B2}">
      <dgm:prSet/>
      <dgm:spPr/>
      <dgm:t>
        <a:bodyPr/>
        <a:lstStyle/>
        <a:p>
          <a:endParaRPr lang="nl-NL"/>
        </a:p>
      </dgm:t>
    </dgm:pt>
    <dgm:pt modelId="{36166587-9BB2-4FCE-9D34-8A6E5DC5A272}">
      <dgm:prSet phldrT="[Text]" custT="1"/>
      <dgm:spPr/>
      <dgm:t>
        <a:bodyPr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</a:rPr>
            <a:t>Knowledge + Trust 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= 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Easier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and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faster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decision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 making</a:t>
          </a:r>
          <a:endParaRPr lang="nl-NL" sz="1800" kern="1200" dirty="0">
            <a:solidFill>
              <a:prstClr val="white"/>
            </a:solidFill>
            <a:latin typeface="Adelle BS Office"/>
            <a:ea typeface="+mn-ea"/>
            <a:cs typeface="+mn-cs"/>
          </a:endParaRPr>
        </a:p>
      </dgm:t>
    </dgm:pt>
    <dgm:pt modelId="{5A59C645-DB74-40C4-B3F6-9724C7E95036}" type="parTrans" cxnId="{686F548B-7837-4242-BB0C-404037162148}">
      <dgm:prSet/>
      <dgm:spPr/>
      <dgm:t>
        <a:bodyPr/>
        <a:lstStyle/>
        <a:p>
          <a:endParaRPr lang="nl-NL"/>
        </a:p>
      </dgm:t>
    </dgm:pt>
    <dgm:pt modelId="{307E163F-AEE3-43A6-B65D-F3E12BD852A0}" type="sibTrans" cxnId="{686F548B-7837-4242-BB0C-404037162148}">
      <dgm:prSet/>
      <dgm:spPr/>
      <dgm:t>
        <a:bodyPr/>
        <a:lstStyle/>
        <a:p>
          <a:endParaRPr lang="nl-NL"/>
        </a:p>
      </dgm:t>
    </dgm:pt>
    <dgm:pt modelId="{50884A80-4BC2-4DBB-BEC8-1664E152C153}">
      <dgm:prSet phldrT="[Text]" custT="1"/>
      <dgm:spPr/>
      <dgm:t>
        <a:bodyPr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</a:rPr>
            <a:t>Maximize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</a:rPr>
            <a:t> performance of “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</a:rPr>
            <a:t>main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</a:rPr>
            <a:t>” product - website</a:t>
          </a:r>
        </a:p>
      </dgm:t>
    </dgm:pt>
    <dgm:pt modelId="{6F38BCBA-F31E-4E30-B12E-88D24F08E031}" type="parTrans" cxnId="{081234EA-1DD9-4FF9-BB25-75FF1A1B85B3}">
      <dgm:prSet/>
      <dgm:spPr/>
      <dgm:t>
        <a:bodyPr/>
        <a:lstStyle/>
        <a:p>
          <a:endParaRPr lang="nl-NL"/>
        </a:p>
      </dgm:t>
    </dgm:pt>
    <dgm:pt modelId="{5D8A36D6-CFDB-42C9-BCBC-E1987964E957}" type="sibTrans" cxnId="{081234EA-1DD9-4FF9-BB25-75FF1A1B85B3}">
      <dgm:prSet/>
      <dgm:spPr/>
      <dgm:t>
        <a:bodyPr/>
        <a:lstStyle/>
        <a:p>
          <a:endParaRPr lang="nl-NL"/>
        </a:p>
      </dgm:t>
    </dgm:pt>
    <dgm:pt modelId="{EDD8C466-71FE-40B0-902C-9305C1554DFB}" type="pres">
      <dgm:prSet presAssocID="{1F75BC33-99AD-40AD-A986-094715DD73C9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AC8A34B0-E8F6-4EF5-B12F-1AC546759D22}" type="pres">
      <dgm:prSet presAssocID="{AC5A784C-963A-4230-BD3A-88C9498BAE12}" presName="root1" presStyleCnt="0"/>
      <dgm:spPr/>
    </dgm:pt>
    <dgm:pt modelId="{F5E510CB-A4D5-44FA-895F-E0071D893E8B}" type="pres">
      <dgm:prSet presAssocID="{AC5A784C-963A-4230-BD3A-88C9498BAE12}" presName="LevelOneTextNode" presStyleLbl="node0" presStyleIdx="0" presStyleCnt="1" custScaleY="75097">
        <dgm:presLayoutVars>
          <dgm:chPref val="3"/>
        </dgm:presLayoutVars>
      </dgm:prSet>
      <dgm:spPr/>
    </dgm:pt>
    <dgm:pt modelId="{86196FA6-783B-4B07-B683-C28A1F34B63D}" type="pres">
      <dgm:prSet presAssocID="{AC5A784C-963A-4230-BD3A-88C9498BAE12}" presName="level2hierChild" presStyleCnt="0"/>
      <dgm:spPr/>
    </dgm:pt>
    <dgm:pt modelId="{BDD54685-A5E3-4CD3-B803-7DBABFAC3900}" type="pres">
      <dgm:prSet presAssocID="{DFBE8CB6-68A6-4A15-BE51-C112351A33A9}" presName="conn2-1" presStyleLbl="parChTrans1D2" presStyleIdx="0" presStyleCnt="3"/>
      <dgm:spPr/>
    </dgm:pt>
    <dgm:pt modelId="{09465DF5-FD99-48FD-A5CF-C559DF0C4FF8}" type="pres">
      <dgm:prSet presAssocID="{DFBE8CB6-68A6-4A15-BE51-C112351A33A9}" presName="connTx" presStyleLbl="parChTrans1D2" presStyleIdx="0" presStyleCnt="3"/>
      <dgm:spPr/>
    </dgm:pt>
    <dgm:pt modelId="{60737690-53BC-4CB3-A523-808875DE1D8E}" type="pres">
      <dgm:prSet presAssocID="{9597CDDA-6F1C-4D51-9935-33E7C10F20AF}" presName="root2" presStyleCnt="0"/>
      <dgm:spPr/>
    </dgm:pt>
    <dgm:pt modelId="{A550C43D-4EEB-446D-BB74-6FA577880A9D}" type="pres">
      <dgm:prSet presAssocID="{9597CDDA-6F1C-4D51-9935-33E7C10F20AF}" presName="LevelTwoTextNode" presStyleLbl="node2" presStyleIdx="0" presStyleCnt="3" custScaleX="272218" custScaleY="56205">
        <dgm:presLayoutVars>
          <dgm:chPref val="3"/>
        </dgm:presLayoutVars>
      </dgm:prSet>
      <dgm:spPr/>
    </dgm:pt>
    <dgm:pt modelId="{A74DA358-21DE-42BC-8FF9-9180B669AB7F}" type="pres">
      <dgm:prSet presAssocID="{9597CDDA-6F1C-4D51-9935-33E7C10F20AF}" presName="level3hierChild" presStyleCnt="0"/>
      <dgm:spPr/>
    </dgm:pt>
    <dgm:pt modelId="{D4D8E0A0-ABE4-4A00-B39B-B4D4B1BA0343}" type="pres">
      <dgm:prSet presAssocID="{5A59C645-DB74-40C4-B3F6-9724C7E95036}" presName="conn2-1" presStyleLbl="parChTrans1D2" presStyleIdx="1" presStyleCnt="3"/>
      <dgm:spPr/>
    </dgm:pt>
    <dgm:pt modelId="{6D957143-9E31-49FC-B0AC-19A8F751979B}" type="pres">
      <dgm:prSet presAssocID="{5A59C645-DB74-40C4-B3F6-9724C7E95036}" presName="connTx" presStyleLbl="parChTrans1D2" presStyleIdx="1" presStyleCnt="3"/>
      <dgm:spPr/>
    </dgm:pt>
    <dgm:pt modelId="{84046238-33A3-40C4-A17B-3E5F2CF40625}" type="pres">
      <dgm:prSet presAssocID="{36166587-9BB2-4FCE-9D34-8A6E5DC5A272}" presName="root2" presStyleCnt="0"/>
      <dgm:spPr/>
    </dgm:pt>
    <dgm:pt modelId="{28B8E5CF-443F-48FA-A8E0-162432383689}" type="pres">
      <dgm:prSet presAssocID="{36166587-9BB2-4FCE-9D34-8A6E5DC5A272}" presName="LevelTwoTextNode" presStyleLbl="node2" presStyleIdx="1" presStyleCnt="3" custScaleX="273630" custScaleY="56205">
        <dgm:presLayoutVars>
          <dgm:chPref val="3"/>
        </dgm:presLayoutVars>
      </dgm:prSet>
      <dgm:spPr/>
    </dgm:pt>
    <dgm:pt modelId="{B718F117-B800-4E02-A74B-CF8CC3D25DB7}" type="pres">
      <dgm:prSet presAssocID="{36166587-9BB2-4FCE-9D34-8A6E5DC5A272}" presName="level3hierChild" presStyleCnt="0"/>
      <dgm:spPr/>
    </dgm:pt>
    <dgm:pt modelId="{416C13BE-47E2-4EFD-BA52-D0E18422BF55}" type="pres">
      <dgm:prSet presAssocID="{6F38BCBA-F31E-4E30-B12E-88D24F08E031}" presName="conn2-1" presStyleLbl="parChTrans1D2" presStyleIdx="2" presStyleCnt="3"/>
      <dgm:spPr/>
    </dgm:pt>
    <dgm:pt modelId="{0BF457D2-A9D3-42C8-AB15-0AD382327397}" type="pres">
      <dgm:prSet presAssocID="{6F38BCBA-F31E-4E30-B12E-88D24F08E031}" presName="connTx" presStyleLbl="parChTrans1D2" presStyleIdx="2" presStyleCnt="3"/>
      <dgm:spPr/>
    </dgm:pt>
    <dgm:pt modelId="{4BB550E9-5173-4FBD-A000-36E412EB9162}" type="pres">
      <dgm:prSet presAssocID="{50884A80-4BC2-4DBB-BEC8-1664E152C153}" presName="root2" presStyleCnt="0"/>
      <dgm:spPr/>
    </dgm:pt>
    <dgm:pt modelId="{3A4A19EA-CEA3-4A32-8784-28836A53C366}" type="pres">
      <dgm:prSet presAssocID="{50884A80-4BC2-4DBB-BEC8-1664E152C153}" presName="LevelTwoTextNode" presStyleLbl="node2" presStyleIdx="2" presStyleCnt="3" custScaleX="272978" custScaleY="56205">
        <dgm:presLayoutVars>
          <dgm:chPref val="3"/>
        </dgm:presLayoutVars>
      </dgm:prSet>
      <dgm:spPr/>
    </dgm:pt>
    <dgm:pt modelId="{D25AEBB1-8CDE-45F7-953D-F0136138B720}" type="pres">
      <dgm:prSet presAssocID="{50884A80-4BC2-4DBB-BEC8-1664E152C153}" presName="level3hierChild" presStyleCnt="0"/>
      <dgm:spPr/>
    </dgm:pt>
  </dgm:ptLst>
  <dgm:cxnLst>
    <dgm:cxn modelId="{9A75C300-7540-4F23-98DF-03EA820717FA}" type="presOf" srcId="{1F75BC33-99AD-40AD-A986-094715DD73C9}" destId="{EDD8C466-71FE-40B0-902C-9305C1554DFB}" srcOrd="0" destOrd="0" presId="urn:microsoft.com/office/officeart/2005/8/layout/hierarchy2"/>
    <dgm:cxn modelId="{0D64CA01-293F-4D76-A856-2D40EF56C944}" type="presOf" srcId="{36166587-9BB2-4FCE-9D34-8A6E5DC5A272}" destId="{28B8E5CF-443F-48FA-A8E0-162432383689}" srcOrd="0" destOrd="0" presId="urn:microsoft.com/office/officeart/2005/8/layout/hierarchy2"/>
    <dgm:cxn modelId="{DE3FFE02-580B-46B8-BD67-DA097B3B37DD}" type="presOf" srcId="{DFBE8CB6-68A6-4A15-BE51-C112351A33A9}" destId="{09465DF5-FD99-48FD-A5CF-C559DF0C4FF8}" srcOrd="1" destOrd="0" presId="urn:microsoft.com/office/officeart/2005/8/layout/hierarchy2"/>
    <dgm:cxn modelId="{4BC6930B-C82C-4064-87D0-CC584FA87A96}" srcId="{1F75BC33-99AD-40AD-A986-094715DD73C9}" destId="{AC5A784C-963A-4230-BD3A-88C9498BAE12}" srcOrd="0" destOrd="0" parTransId="{7AAF8459-561E-4994-866E-432CC3EBA21D}" sibTransId="{CC377AB5-D08E-47A6-9ACE-4D75F11019B8}"/>
    <dgm:cxn modelId="{8046FA3C-7EA2-441A-9F63-37546054B3BA}" type="presOf" srcId="{5A59C645-DB74-40C4-B3F6-9724C7E95036}" destId="{6D957143-9E31-49FC-B0AC-19A8F751979B}" srcOrd="1" destOrd="0" presId="urn:microsoft.com/office/officeart/2005/8/layout/hierarchy2"/>
    <dgm:cxn modelId="{0B08EC42-CBCF-47D9-911F-EF0156588AC7}" type="presOf" srcId="{50884A80-4BC2-4DBB-BEC8-1664E152C153}" destId="{3A4A19EA-CEA3-4A32-8784-28836A53C366}" srcOrd="0" destOrd="0" presId="urn:microsoft.com/office/officeart/2005/8/layout/hierarchy2"/>
    <dgm:cxn modelId="{3DD84844-006F-493E-BFAB-6A11F7C4E8B2}" srcId="{AC5A784C-963A-4230-BD3A-88C9498BAE12}" destId="{9597CDDA-6F1C-4D51-9935-33E7C10F20AF}" srcOrd="0" destOrd="0" parTransId="{DFBE8CB6-68A6-4A15-BE51-C112351A33A9}" sibTransId="{9E1F724F-55B5-4F0C-8543-B66DA9C60F50}"/>
    <dgm:cxn modelId="{7BAC8047-741E-4CA2-ACD4-FEAB09D51D05}" type="presOf" srcId="{9597CDDA-6F1C-4D51-9935-33E7C10F20AF}" destId="{A550C43D-4EEB-446D-BB74-6FA577880A9D}" srcOrd="0" destOrd="0" presId="urn:microsoft.com/office/officeart/2005/8/layout/hierarchy2"/>
    <dgm:cxn modelId="{686F548B-7837-4242-BB0C-404037162148}" srcId="{AC5A784C-963A-4230-BD3A-88C9498BAE12}" destId="{36166587-9BB2-4FCE-9D34-8A6E5DC5A272}" srcOrd="1" destOrd="0" parTransId="{5A59C645-DB74-40C4-B3F6-9724C7E95036}" sibTransId="{307E163F-AEE3-43A6-B65D-F3E12BD852A0}"/>
    <dgm:cxn modelId="{D3C643A5-3760-4E7E-A898-4AA23596AA5A}" type="presOf" srcId="{5A59C645-DB74-40C4-B3F6-9724C7E95036}" destId="{D4D8E0A0-ABE4-4A00-B39B-B4D4B1BA0343}" srcOrd="0" destOrd="0" presId="urn:microsoft.com/office/officeart/2005/8/layout/hierarchy2"/>
    <dgm:cxn modelId="{6C22EFBC-25E0-4FE2-B5B3-35328076BA4C}" type="presOf" srcId="{AC5A784C-963A-4230-BD3A-88C9498BAE12}" destId="{F5E510CB-A4D5-44FA-895F-E0071D893E8B}" srcOrd="0" destOrd="0" presId="urn:microsoft.com/office/officeart/2005/8/layout/hierarchy2"/>
    <dgm:cxn modelId="{216BD2C6-DA22-49C0-8039-009E39A010E4}" type="presOf" srcId="{6F38BCBA-F31E-4E30-B12E-88D24F08E031}" destId="{0BF457D2-A9D3-42C8-AB15-0AD382327397}" srcOrd="1" destOrd="0" presId="urn:microsoft.com/office/officeart/2005/8/layout/hierarchy2"/>
    <dgm:cxn modelId="{4ED8D0E8-C232-44C2-8B46-D773B7B9BDCC}" type="presOf" srcId="{DFBE8CB6-68A6-4A15-BE51-C112351A33A9}" destId="{BDD54685-A5E3-4CD3-B803-7DBABFAC3900}" srcOrd="0" destOrd="0" presId="urn:microsoft.com/office/officeart/2005/8/layout/hierarchy2"/>
    <dgm:cxn modelId="{081234EA-1DD9-4FF9-BB25-75FF1A1B85B3}" srcId="{AC5A784C-963A-4230-BD3A-88C9498BAE12}" destId="{50884A80-4BC2-4DBB-BEC8-1664E152C153}" srcOrd="2" destOrd="0" parTransId="{6F38BCBA-F31E-4E30-B12E-88D24F08E031}" sibTransId="{5D8A36D6-CFDB-42C9-BCBC-E1987964E957}"/>
    <dgm:cxn modelId="{4A046CF4-7A7F-4149-BD8D-D84DE95EA292}" type="presOf" srcId="{6F38BCBA-F31E-4E30-B12E-88D24F08E031}" destId="{416C13BE-47E2-4EFD-BA52-D0E18422BF55}" srcOrd="0" destOrd="0" presId="urn:microsoft.com/office/officeart/2005/8/layout/hierarchy2"/>
    <dgm:cxn modelId="{9258FD95-355B-4873-A437-E325A38DE720}" type="presParOf" srcId="{EDD8C466-71FE-40B0-902C-9305C1554DFB}" destId="{AC8A34B0-E8F6-4EF5-B12F-1AC546759D22}" srcOrd="0" destOrd="0" presId="urn:microsoft.com/office/officeart/2005/8/layout/hierarchy2"/>
    <dgm:cxn modelId="{5DBCE141-BA46-490C-9C00-6FD183B31070}" type="presParOf" srcId="{AC8A34B0-E8F6-4EF5-B12F-1AC546759D22}" destId="{F5E510CB-A4D5-44FA-895F-E0071D893E8B}" srcOrd="0" destOrd="0" presId="urn:microsoft.com/office/officeart/2005/8/layout/hierarchy2"/>
    <dgm:cxn modelId="{072FC691-78C1-4322-9549-F73E3C517316}" type="presParOf" srcId="{AC8A34B0-E8F6-4EF5-B12F-1AC546759D22}" destId="{86196FA6-783B-4B07-B683-C28A1F34B63D}" srcOrd="1" destOrd="0" presId="urn:microsoft.com/office/officeart/2005/8/layout/hierarchy2"/>
    <dgm:cxn modelId="{9F3B79C5-DC14-40FD-A099-4DC4A2247ECA}" type="presParOf" srcId="{86196FA6-783B-4B07-B683-C28A1F34B63D}" destId="{BDD54685-A5E3-4CD3-B803-7DBABFAC3900}" srcOrd="0" destOrd="0" presId="urn:microsoft.com/office/officeart/2005/8/layout/hierarchy2"/>
    <dgm:cxn modelId="{BB99418D-4B08-4AC5-A456-39FAF0053525}" type="presParOf" srcId="{BDD54685-A5E3-4CD3-B803-7DBABFAC3900}" destId="{09465DF5-FD99-48FD-A5CF-C559DF0C4FF8}" srcOrd="0" destOrd="0" presId="urn:microsoft.com/office/officeart/2005/8/layout/hierarchy2"/>
    <dgm:cxn modelId="{928FDC82-DDE6-4232-928E-6E8CBB7EB4D6}" type="presParOf" srcId="{86196FA6-783B-4B07-B683-C28A1F34B63D}" destId="{60737690-53BC-4CB3-A523-808875DE1D8E}" srcOrd="1" destOrd="0" presId="urn:microsoft.com/office/officeart/2005/8/layout/hierarchy2"/>
    <dgm:cxn modelId="{2109A5FD-C630-4E48-99F4-FFDDCBC006B3}" type="presParOf" srcId="{60737690-53BC-4CB3-A523-808875DE1D8E}" destId="{A550C43D-4EEB-446D-BB74-6FA577880A9D}" srcOrd="0" destOrd="0" presId="urn:microsoft.com/office/officeart/2005/8/layout/hierarchy2"/>
    <dgm:cxn modelId="{FFEC8E86-0544-4883-A231-920CADFF6A76}" type="presParOf" srcId="{60737690-53BC-4CB3-A523-808875DE1D8E}" destId="{A74DA358-21DE-42BC-8FF9-9180B669AB7F}" srcOrd="1" destOrd="0" presId="urn:microsoft.com/office/officeart/2005/8/layout/hierarchy2"/>
    <dgm:cxn modelId="{D7905574-F0F8-4114-A83C-8C8C35261AF1}" type="presParOf" srcId="{86196FA6-783B-4B07-B683-C28A1F34B63D}" destId="{D4D8E0A0-ABE4-4A00-B39B-B4D4B1BA0343}" srcOrd="2" destOrd="0" presId="urn:microsoft.com/office/officeart/2005/8/layout/hierarchy2"/>
    <dgm:cxn modelId="{AFB733D7-F9F5-4CE9-AAC5-7DE759B8ACCF}" type="presParOf" srcId="{D4D8E0A0-ABE4-4A00-B39B-B4D4B1BA0343}" destId="{6D957143-9E31-49FC-B0AC-19A8F751979B}" srcOrd="0" destOrd="0" presId="urn:microsoft.com/office/officeart/2005/8/layout/hierarchy2"/>
    <dgm:cxn modelId="{25B2545A-BDDA-460A-BF44-9F986A90E17E}" type="presParOf" srcId="{86196FA6-783B-4B07-B683-C28A1F34B63D}" destId="{84046238-33A3-40C4-A17B-3E5F2CF40625}" srcOrd="3" destOrd="0" presId="urn:microsoft.com/office/officeart/2005/8/layout/hierarchy2"/>
    <dgm:cxn modelId="{26E310C3-6A74-4076-97A8-C77947EC7FEF}" type="presParOf" srcId="{84046238-33A3-40C4-A17B-3E5F2CF40625}" destId="{28B8E5CF-443F-48FA-A8E0-162432383689}" srcOrd="0" destOrd="0" presId="urn:microsoft.com/office/officeart/2005/8/layout/hierarchy2"/>
    <dgm:cxn modelId="{84618A9B-7035-4F10-AA73-7D681AA9D2C8}" type="presParOf" srcId="{84046238-33A3-40C4-A17B-3E5F2CF40625}" destId="{B718F117-B800-4E02-A74B-CF8CC3D25DB7}" srcOrd="1" destOrd="0" presId="urn:microsoft.com/office/officeart/2005/8/layout/hierarchy2"/>
    <dgm:cxn modelId="{8C966E26-D5CF-4351-8D5F-5B934FE3EB0B}" type="presParOf" srcId="{86196FA6-783B-4B07-B683-C28A1F34B63D}" destId="{416C13BE-47E2-4EFD-BA52-D0E18422BF55}" srcOrd="4" destOrd="0" presId="urn:microsoft.com/office/officeart/2005/8/layout/hierarchy2"/>
    <dgm:cxn modelId="{DAD4D97E-1987-4EAD-B20F-282EAFFA6DF2}" type="presParOf" srcId="{416C13BE-47E2-4EFD-BA52-D0E18422BF55}" destId="{0BF457D2-A9D3-42C8-AB15-0AD382327397}" srcOrd="0" destOrd="0" presId="urn:microsoft.com/office/officeart/2005/8/layout/hierarchy2"/>
    <dgm:cxn modelId="{A0DBD104-EF83-46B2-AE59-E41594C2C57B}" type="presParOf" srcId="{86196FA6-783B-4B07-B683-C28A1F34B63D}" destId="{4BB550E9-5173-4FBD-A000-36E412EB9162}" srcOrd="5" destOrd="0" presId="urn:microsoft.com/office/officeart/2005/8/layout/hierarchy2"/>
    <dgm:cxn modelId="{73005402-477A-468B-9CA3-8E636005F3AA}" type="presParOf" srcId="{4BB550E9-5173-4FBD-A000-36E412EB9162}" destId="{3A4A19EA-CEA3-4A32-8784-28836A53C366}" srcOrd="0" destOrd="0" presId="urn:microsoft.com/office/officeart/2005/8/layout/hierarchy2"/>
    <dgm:cxn modelId="{8E50D73C-6BFF-40EB-9160-4E220AFD359D}" type="presParOf" srcId="{4BB550E9-5173-4FBD-A000-36E412EB9162}" destId="{D25AEBB1-8CDE-45F7-953D-F0136138B720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0871EB-C477-4291-A64B-48C07D49370F}">
      <dsp:nvSpPr>
        <dsp:cNvPr id="0" name=""/>
        <dsp:cNvSpPr/>
      </dsp:nvSpPr>
      <dsp:spPr>
        <a:xfrm>
          <a:off x="2700000" y="1190137"/>
          <a:ext cx="1439681" cy="4997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9862"/>
              </a:lnTo>
              <a:lnTo>
                <a:pt x="1439681" y="249862"/>
              </a:lnTo>
              <a:lnTo>
                <a:pt x="1439681" y="4997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A2CD36-8EED-4882-B815-D20952725A91}">
      <dsp:nvSpPr>
        <dsp:cNvPr id="0" name=""/>
        <dsp:cNvSpPr/>
      </dsp:nvSpPr>
      <dsp:spPr>
        <a:xfrm>
          <a:off x="1260318" y="1190137"/>
          <a:ext cx="1439681" cy="499724"/>
        </a:xfrm>
        <a:custGeom>
          <a:avLst/>
          <a:gdLst/>
          <a:ahLst/>
          <a:cxnLst/>
          <a:rect l="0" t="0" r="0" b="0"/>
          <a:pathLst>
            <a:path>
              <a:moveTo>
                <a:pt x="1439681" y="0"/>
              </a:moveTo>
              <a:lnTo>
                <a:pt x="1439681" y="249862"/>
              </a:lnTo>
              <a:lnTo>
                <a:pt x="0" y="249862"/>
              </a:lnTo>
              <a:lnTo>
                <a:pt x="0" y="4997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0D41F9-1FAA-43C6-B735-E93EFF2CE585}">
      <dsp:nvSpPr>
        <dsp:cNvPr id="0" name=""/>
        <dsp:cNvSpPr/>
      </dsp:nvSpPr>
      <dsp:spPr>
        <a:xfrm>
          <a:off x="2105090" y="318"/>
          <a:ext cx="1189819" cy="1189819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E8DBAF-CC35-42EF-B5AA-DA81370D66E0}">
      <dsp:nvSpPr>
        <dsp:cNvPr id="0" name=""/>
        <dsp:cNvSpPr/>
      </dsp:nvSpPr>
      <dsp:spPr>
        <a:xfrm>
          <a:off x="2105090" y="318"/>
          <a:ext cx="1189819" cy="1189819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55F03C-EE5A-4959-9DE0-F63F057ADAC9}">
      <dsp:nvSpPr>
        <dsp:cNvPr id="0" name=""/>
        <dsp:cNvSpPr/>
      </dsp:nvSpPr>
      <dsp:spPr>
        <a:xfrm>
          <a:off x="1510180" y="214486"/>
          <a:ext cx="2379638" cy="76148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000" kern="1200" dirty="0" err="1"/>
            <a:t>Current</a:t>
          </a:r>
          <a:r>
            <a:rPr lang="nl-NL" sz="2000" kern="1200" dirty="0"/>
            <a:t> Google data issues</a:t>
          </a:r>
        </a:p>
      </dsp:txBody>
      <dsp:txXfrm>
        <a:off x="1510180" y="214486"/>
        <a:ext cx="2379638" cy="761484"/>
      </dsp:txXfrm>
    </dsp:sp>
    <dsp:sp modelId="{356A58B7-8578-4B2F-8F8D-26F124215185}">
      <dsp:nvSpPr>
        <dsp:cNvPr id="0" name=""/>
        <dsp:cNvSpPr/>
      </dsp:nvSpPr>
      <dsp:spPr>
        <a:xfrm>
          <a:off x="665408" y="1689862"/>
          <a:ext cx="1189819" cy="1189819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90F96E-D20C-454F-930E-0CB6E29EB327}">
      <dsp:nvSpPr>
        <dsp:cNvPr id="0" name=""/>
        <dsp:cNvSpPr/>
      </dsp:nvSpPr>
      <dsp:spPr>
        <a:xfrm>
          <a:off x="665408" y="1689862"/>
          <a:ext cx="1189819" cy="1189819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B00FE7-30F0-4329-A875-8A2C400880D9}">
      <dsp:nvSpPr>
        <dsp:cNvPr id="0" name=""/>
        <dsp:cNvSpPr/>
      </dsp:nvSpPr>
      <dsp:spPr>
        <a:xfrm>
          <a:off x="70499" y="1904029"/>
          <a:ext cx="2379638" cy="76148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Missing</a:t>
          </a:r>
        </a:p>
      </dsp:txBody>
      <dsp:txXfrm>
        <a:off x="70499" y="1904029"/>
        <a:ext cx="2379638" cy="761484"/>
      </dsp:txXfrm>
    </dsp:sp>
    <dsp:sp modelId="{8806876B-01C3-4D56-920D-294E7D8EC53C}">
      <dsp:nvSpPr>
        <dsp:cNvPr id="0" name=""/>
        <dsp:cNvSpPr/>
      </dsp:nvSpPr>
      <dsp:spPr>
        <a:xfrm>
          <a:off x="3544771" y="1689862"/>
          <a:ext cx="1189819" cy="1189819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C76FB1-C0AB-4781-A1AB-5B654262FFF5}">
      <dsp:nvSpPr>
        <dsp:cNvPr id="0" name=""/>
        <dsp:cNvSpPr/>
      </dsp:nvSpPr>
      <dsp:spPr>
        <a:xfrm>
          <a:off x="3544771" y="1689862"/>
          <a:ext cx="1189819" cy="1189819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1C4F53-6E8D-4136-9688-E4843CA434F6}">
      <dsp:nvSpPr>
        <dsp:cNvPr id="0" name=""/>
        <dsp:cNvSpPr/>
      </dsp:nvSpPr>
      <dsp:spPr>
        <a:xfrm>
          <a:off x="2949862" y="1904029"/>
          <a:ext cx="2379638" cy="76148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Incorrect</a:t>
          </a:r>
        </a:p>
      </dsp:txBody>
      <dsp:txXfrm>
        <a:off x="2949862" y="1904029"/>
        <a:ext cx="2379638" cy="7614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0871EB-C477-4291-A64B-48C07D49370F}">
      <dsp:nvSpPr>
        <dsp:cNvPr id="0" name=""/>
        <dsp:cNvSpPr/>
      </dsp:nvSpPr>
      <dsp:spPr>
        <a:xfrm>
          <a:off x="2700000" y="1190137"/>
          <a:ext cx="1439681" cy="4997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9862"/>
              </a:lnTo>
              <a:lnTo>
                <a:pt x="1439681" y="249862"/>
              </a:lnTo>
              <a:lnTo>
                <a:pt x="1439681" y="4997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A2CD36-8EED-4882-B815-D20952725A91}">
      <dsp:nvSpPr>
        <dsp:cNvPr id="0" name=""/>
        <dsp:cNvSpPr/>
      </dsp:nvSpPr>
      <dsp:spPr>
        <a:xfrm>
          <a:off x="1260318" y="1190137"/>
          <a:ext cx="1439681" cy="499724"/>
        </a:xfrm>
        <a:custGeom>
          <a:avLst/>
          <a:gdLst/>
          <a:ahLst/>
          <a:cxnLst/>
          <a:rect l="0" t="0" r="0" b="0"/>
          <a:pathLst>
            <a:path>
              <a:moveTo>
                <a:pt x="1439681" y="0"/>
              </a:moveTo>
              <a:lnTo>
                <a:pt x="1439681" y="249862"/>
              </a:lnTo>
              <a:lnTo>
                <a:pt x="0" y="249862"/>
              </a:lnTo>
              <a:lnTo>
                <a:pt x="0" y="4997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0D41F9-1FAA-43C6-B735-E93EFF2CE585}">
      <dsp:nvSpPr>
        <dsp:cNvPr id="0" name=""/>
        <dsp:cNvSpPr/>
      </dsp:nvSpPr>
      <dsp:spPr>
        <a:xfrm>
          <a:off x="2105090" y="318"/>
          <a:ext cx="1189819" cy="1189819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E8DBAF-CC35-42EF-B5AA-DA81370D66E0}">
      <dsp:nvSpPr>
        <dsp:cNvPr id="0" name=""/>
        <dsp:cNvSpPr/>
      </dsp:nvSpPr>
      <dsp:spPr>
        <a:xfrm>
          <a:off x="2105090" y="318"/>
          <a:ext cx="1189819" cy="1189819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55F03C-EE5A-4959-9DE0-F63F057ADAC9}">
      <dsp:nvSpPr>
        <dsp:cNvPr id="0" name=""/>
        <dsp:cNvSpPr/>
      </dsp:nvSpPr>
      <dsp:spPr>
        <a:xfrm>
          <a:off x="1510180" y="214486"/>
          <a:ext cx="2379638" cy="76148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000" kern="1200" dirty="0"/>
            <a:t>Data types</a:t>
          </a:r>
        </a:p>
      </dsp:txBody>
      <dsp:txXfrm>
        <a:off x="1510180" y="214486"/>
        <a:ext cx="2379638" cy="761484"/>
      </dsp:txXfrm>
    </dsp:sp>
    <dsp:sp modelId="{356A58B7-8578-4B2F-8F8D-26F124215185}">
      <dsp:nvSpPr>
        <dsp:cNvPr id="0" name=""/>
        <dsp:cNvSpPr/>
      </dsp:nvSpPr>
      <dsp:spPr>
        <a:xfrm>
          <a:off x="665408" y="1689862"/>
          <a:ext cx="1189819" cy="1189819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90F96E-D20C-454F-930E-0CB6E29EB327}">
      <dsp:nvSpPr>
        <dsp:cNvPr id="0" name=""/>
        <dsp:cNvSpPr/>
      </dsp:nvSpPr>
      <dsp:spPr>
        <a:xfrm>
          <a:off x="665408" y="1689862"/>
          <a:ext cx="1189819" cy="1189819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B00FE7-30F0-4329-A875-8A2C400880D9}">
      <dsp:nvSpPr>
        <dsp:cNvPr id="0" name=""/>
        <dsp:cNvSpPr/>
      </dsp:nvSpPr>
      <dsp:spPr>
        <a:xfrm>
          <a:off x="70499" y="1904029"/>
          <a:ext cx="2379638" cy="76148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Events</a:t>
          </a:r>
        </a:p>
      </dsp:txBody>
      <dsp:txXfrm>
        <a:off x="70499" y="1904029"/>
        <a:ext cx="2379638" cy="761484"/>
      </dsp:txXfrm>
    </dsp:sp>
    <dsp:sp modelId="{8806876B-01C3-4D56-920D-294E7D8EC53C}">
      <dsp:nvSpPr>
        <dsp:cNvPr id="0" name=""/>
        <dsp:cNvSpPr/>
      </dsp:nvSpPr>
      <dsp:spPr>
        <a:xfrm>
          <a:off x="3544771" y="1689862"/>
          <a:ext cx="1189819" cy="1189819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C76FB1-C0AB-4781-A1AB-5B654262FFF5}">
      <dsp:nvSpPr>
        <dsp:cNvPr id="0" name=""/>
        <dsp:cNvSpPr/>
      </dsp:nvSpPr>
      <dsp:spPr>
        <a:xfrm>
          <a:off x="3544771" y="1689862"/>
          <a:ext cx="1189819" cy="1189819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1C4F53-6E8D-4136-9688-E4843CA434F6}">
      <dsp:nvSpPr>
        <dsp:cNvPr id="0" name=""/>
        <dsp:cNvSpPr/>
      </dsp:nvSpPr>
      <dsp:spPr>
        <a:xfrm>
          <a:off x="2949862" y="1904029"/>
          <a:ext cx="2379638" cy="76148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Pages</a:t>
          </a:r>
        </a:p>
      </dsp:txBody>
      <dsp:txXfrm>
        <a:off x="2949862" y="1904029"/>
        <a:ext cx="2379638" cy="76148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ABE93-986E-44AC-9143-71AE418B5BCF}">
      <dsp:nvSpPr>
        <dsp:cNvPr id="0" name=""/>
        <dsp:cNvSpPr/>
      </dsp:nvSpPr>
      <dsp:spPr>
        <a:xfrm>
          <a:off x="2040000" y="0"/>
          <a:ext cx="2040000" cy="1200000"/>
        </a:xfrm>
        <a:prstGeom prst="trapezoid">
          <a:avLst>
            <a:gd name="adj" fmla="val 8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1800" kern="1200" dirty="0"/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 err="1"/>
            <a:t>Improve</a:t>
          </a:r>
          <a:r>
            <a:rPr lang="nl-NL" sz="1800" kern="1200" dirty="0"/>
            <a:t>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 err="1"/>
            <a:t>processes</a:t>
          </a:r>
          <a:endParaRPr lang="nl-NL" sz="1800" kern="1200" dirty="0"/>
        </a:p>
      </dsp:txBody>
      <dsp:txXfrm>
        <a:off x="2040000" y="0"/>
        <a:ext cx="2040000" cy="1200000"/>
      </dsp:txXfrm>
    </dsp:sp>
    <dsp:sp modelId="{7850741F-7F5E-42AB-889C-A9B0E155B8C2}">
      <dsp:nvSpPr>
        <dsp:cNvPr id="0" name=""/>
        <dsp:cNvSpPr/>
      </dsp:nvSpPr>
      <dsp:spPr>
        <a:xfrm>
          <a:off x="1019999" y="1199999"/>
          <a:ext cx="4080000" cy="1200000"/>
        </a:xfrm>
        <a:prstGeom prst="trapezoid">
          <a:avLst>
            <a:gd name="adj" fmla="val 8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Events </a:t>
          </a:r>
          <a:r>
            <a:rPr lang="nl-NL" sz="1800" kern="1200" dirty="0" err="1"/>
            <a:t>impossible</a:t>
          </a:r>
          <a:r>
            <a:rPr lang="nl-NL" sz="1800" kern="1200" dirty="0"/>
            <a:t> </a:t>
          </a:r>
          <a:r>
            <a:rPr lang="nl-NL" sz="1800" kern="1200" dirty="0" err="1"/>
            <a:t>to</a:t>
          </a:r>
          <a:r>
            <a:rPr lang="nl-NL" sz="1800" kern="1200" dirty="0"/>
            <a:t> </a:t>
          </a:r>
          <a:r>
            <a:rPr lang="nl-NL" sz="1800" kern="1200" dirty="0" err="1"/>
            <a:t>analyze</a:t>
          </a:r>
          <a:endParaRPr lang="nl-NL" sz="1800" kern="1200" dirty="0"/>
        </a:p>
      </dsp:txBody>
      <dsp:txXfrm>
        <a:off x="1733999" y="1199999"/>
        <a:ext cx="2652000" cy="1200000"/>
      </dsp:txXfrm>
    </dsp:sp>
    <dsp:sp modelId="{3E499304-3D77-49E5-B823-FF4DDD984E33}">
      <dsp:nvSpPr>
        <dsp:cNvPr id="0" name=""/>
        <dsp:cNvSpPr/>
      </dsp:nvSpPr>
      <dsp:spPr>
        <a:xfrm>
          <a:off x="0" y="2399999"/>
          <a:ext cx="6120000" cy="1200000"/>
        </a:xfrm>
        <a:prstGeom prst="trapezoid">
          <a:avLst>
            <a:gd name="adj" fmla="val 8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Wrong analysis’ </a:t>
          </a:r>
          <a:r>
            <a:rPr lang="nl-NL" sz="1800" kern="1200" dirty="0" err="1"/>
            <a:t>conclusions</a:t>
          </a:r>
          <a:endParaRPr lang="nl-NL" sz="1800" kern="1200" dirty="0"/>
        </a:p>
      </dsp:txBody>
      <dsp:txXfrm>
        <a:off x="1070999" y="2399999"/>
        <a:ext cx="3978000" cy="12000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506210-A2E9-45C3-B15E-52A018289898}">
      <dsp:nvSpPr>
        <dsp:cNvPr id="0" name=""/>
        <dsp:cNvSpPr/>
      </dsp:nvSpPr>
      <dsp:spPr>
        <a:xfrm rot="20896021">
          <a:off x="0" y="943155"/>
          <a:ext cx="4320000" cy="270000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7D16AE-DDF5-43DB-B5E1-B20D1D399927}">
      <dsp:nvSpPr>
        <dsp:cNvPr id="0" name=""/>
        <dsp:cNvSpPr/>
      </dsp:nvSpPr>
      <dsp:spPr>
        <a:xfrm>
          <a:off x="1004400" y="1921500"/>
          <a:ext cx="151200" cy="1512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03FE9A-2A95-44B6-9772-1C9D44C6717B}">
      <dsp:nvSpPr>
        <dsp:cNvPr id="0" name=""/>
        <dsp:cNvSpPr/>
      </dsp:nvSpPr>
      <dsp:spPr>
        <a:xfrm>
          <a:off x="919733" y="2147933"/>
          <a:ext cx="1404000" cy="115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118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400" kern="1200" dirty="0"/>
            <a:t>Document </a:t>
          </a:r>
          <a:r>
            <a:rPr lang="nl-NL" sz="1400" kern="1200" dirty="0" err="1"/>
            <a:t>existing</a:t>
          </a:r>
          <a:r>
            <a:rPr lang="nl-NL" sz="1400" kern="1200" dirty="0"/>
            <a:t> </a:t>
          </a:r>
          <a:r>
            <a:rPr lang="nl-NL" sz="1400" kern="1200" dirty="0" err="1"/>
            <a:t>processes</a:t>
          </a:r>
          <a:endParaRPr lang="nl-NL" sz="1400" kern="1200" dirty="0"/>
        </a:p>
      </dsp:txBody>
      <dsp:txXfrm>
        <a:off x="919733" y="2147933"/>
        <a:ext cx="1404000" cy="1152900"/>
      </dsp:txXfrm>
    </dsp:sp>
    <dsp:sp modelId="{0E9F56A8-EBCD-4504-A7A5-4AA8E6972122}">
      <dsp:nvSpPr>
        <dsp:cNvPr id="0" name=""/>
        <dsp:cNvSpPr/>
      </dsp:nvSpPr>
      <dsp:spPr>
        <a:xfrm>
          <a:off x="2397600" y="1233000"/>
          <a:ext cx="259200" cy="2592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F04CE8-B0BC-4D2C-B6F7-3E9EC5BD7E86}">
      <dsp:nvSpPr>
        <dsp:cNvPr id="0" name=""/>
        <dsp:cNvSpPr/>
      </dsp:nvSpPr>
      <dsp:spPr>
        <a:xfrm>
          <a:off x="2454950" y="1513242"/>
          <a:ext cx="1623922" cy="11015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345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400" kern="1200" dirty="0" err="1"/>
            <a:t>Create</a:t>
          </a:r>
          <a:r>
            <a:rPr lang="nl-NL" sz="1400" kern="1200" dirty="0"/>
            <a:t> &amp; document non-</a:t>
          </a:r>
          <a:r>
            <a:rPr lang="nl-NL" sz="1400" kern="1200" dirty="0" err="1"/>
            <a:t>existing</a:t>
          </a:r>
          <a:r>
            <a:rPr lang="nl-NL" sz="1400" kern="1200" dirty="0"/>
            <a:t> </a:t>
          </a:r>
          <a:r>
            <a:rPr lang="nl-NL" sz="1400" kern="1200" dirty="0" err="1"/>
            <a:t>processes</a:t>
          </a:r>
          <a:endParaRPr lang="nl-NL" sz="1400" kern="1200" dirty="0"/>
        </a:p>
      </dsp:txBody>
      <dsp:txXfrm>
        <a:off x="2454950" y="1513242"/>
        <a:ext cx="1623922" cy="110153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E510CB-A4D5-44FA-895F-E0071D893E8B}">
      <dsp:nvSpPr>
        <dsp:cNvPr id="0" name=""/>
        <dsp:cNvSpPr/>
      </dsp:nvSpPr>
      <dsp:spPr>
        <a:xfrm>
          <a:off x="6818" y="1374694"/>
          <a:ext cx="2265363" cy="8506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 err="1"/>
            <a:t>Future</a:t>
          </a:r>
          <a:endParaRPr lang="nl-NL" sz="1800" kern="1200" dirty="0"/>
        </a:p>
      </dsp:txBody>
      <dsp:txXfrm>
        <a:off x="31732" y="1399608"/>
        <a:ext cx="2215535" cy="800782"/>
      </dsp:txXfrm>
    </dsp:sp>
    <dsp:sp modelId="{BDD54685-A5E3-4CD3-B803-7DBABFAC3900}">
      <dsp:nvSpPr>
        <dsp:cNvPr id="0" name=""/>
        <dsp:cNvSpPr/>
      </dsp:nvSpPr>
      <dsp:spPr>
        <a:xfrm rot="19099735">
          <a:off x="2118710" y="1368419"/>
          <a:ext cx="1213088" cy="56634"/>
        </a:xfrm>
        <a:custGeom>
          <a:avLst/>
          <a:gdLst/>
          <a:ahLst/>
          <a:cxnLst/>
          <a:rect l="0" t="0" r="0" b="0"/>
          <a:pathLst>
            <a:path>
              <a:moveTo>
                <a:pt x="0" y="28317"/>
              </a:moveTo>
              <a:lnTo>
                <a:pt x="1213088" y="2831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500" kern="1200"/>
        </a:p>
      </dsp:txBody>
      <dsp:txXfrm>
        <a:off x="2694927" y="1366409"/>
        <a:ext cx="60654" cy="60654"/>
      </dsp:txXfrm>
    </dsp:sp>
    <dsp:sp modelId="{A550C43D-4EEB-446D-BB74-6FA577880A9D}">
      <dsp:nvSpPr>
        <dsp:cNvPr id="0" name=""/>
        <dsp:cNvSpPr/>
      </dsp:nvSpPr>
      <dsp:spPr>
        <a:xfrm>
          <a:off x="3178327" y="675161"/>
          <a:ext cx="6166727" cy="63662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More </a:t>
          </a:r>
          <a:r>
            <a:rPr lang="nl-NL" sz="1800" kern="1200" dirty="0" err="1"/>
            <a:t>and</a:t>
          </a:r>
          <a:r>
            <a:rPr lang="nl-NL" sz="1800" kern="1200" dirty="0"/>
            <a:t> </a:t>
          </a:r>
          <a:r>
            <a:rPr lang="nl-NL" sz="1800" kern="1200" dirty="0" err="1"/>
            <a:t>better</a:t>
          </a:r>
          <a:r>
            <a:rPr lang="nl-NL" sz="1800" kern="1200" dirty="0"/>
            <a:t> data</a:t>
          </a:r>
        </a:p>
      </dsp:txBody>
      <dsp:txXfrm>
        <a:off x="3196973" y="693807"/>
        <a:ext cx="6129435" cy="599331"/>
      </dsp:txXfrm>
    </dsp:sp>
    <dsp:sp modelId="{D4D8E0A0-ABE4-4A00-B39B-B4D4B1BA0343}">
      <dsp:nvSpPr>
        <dsp:cNvPr id="0" name=""/>
        <dsp:cNvSpPr/>
      </dsp:nvSpPr>
      <dsp:spPr>
        <a:xfrm>
          <a:off x="2272182" y="1771682"/>
          <a:ext cx="906145" cy="56634"/>
        </a:xfrm>
        <a:custGeom>
          <a:avLst/>
          <a:gdLst/>
          <a:ahLst/>
          <a:cxnLst/>
          <a:rect l="0" t="0" r="0" b="0"/>
          <a:pathLst>
            <a:path>
              <a:moveTo>
                <a:pt x="0" y="28317"/>
              </a:moveTo>
              <a:lnTo>
                <a:pt x="906145" y="2831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500" kern="1200"/>
        </a:p>
      </dsp:txBody>
      <dsp:txXfrm>
        <a:off x="2702601" y="1777346"/>
        <a:ext cx="45307" cy="45307"/>
      </dsp:txXfrm>
    </dsp:sp>
    <dsp:sp modelId="{28B8E5CF-443F-48FA-A8E0-162432383689}">
      <dsp:nvSpPr>
        <dsp:cNvPr id="0" name=""/>
        <dsp:cNvSpPr/>
      </dsp:nvSpPr>
      <dsp:spPr>
        <a:xfrm>
          <a:off x="3178327" y="1481688"/>
          <a:ext cx="6198714" cy="63662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</a:rPr>
            <a:t>Knowledge + Trust 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= 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Easier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and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faster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decision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  <a:sym typeface="Wingdings" panose="05000000000000000000" pitchFamily="2" charset="2"/>
            </a:rPr>
            <a:t> making</a:t>
          </a:r>
          <a:endParaRPr lang="nl-NL" sz="1800" kern="1200" dirty="0">
            <a:solidFill>
              <a:prstClr val="white"/>
            </a:solidFill>
            <a:latin typeface="Adelle BS Office"/>
            <a:ea typeface="+mn-ea"/>
            <a:cs typeface="+mn-cs"/>
          </a:endParaRPr>
        </a:p>
      </dsp:txBody>
      <dsp:txXfrm>
        <a:off x="3196973" y="1500334"/>
        <a:ext cx="6161422" cy="599331"/>
      </dsp:txXfrm>
    </dsp:sp>
    <dsp:sp modelId="{416C13BE-47E2-4EFD-BA52-D0E18422BF55}">
      <dsp:nvSpPr>
        <dsp:cNvPr id="0" name=""/>
        <dsp:cNvSpPr/>
      </dsp:nvSpPr>
      <dsp:spPr>
        <a:xfrm rot="2500265">
          <a:off x="2118710" y="2174946"/>
          <a:ext cx="1213088" cy="56634"/>
        </a:xfrm>
        <a:custGeom>
          <a:avLst/>
          <a:gdLst/>
          <a:ahLst/>
          <a:cxnLst/>
          <a:rect l="0" t="0" r="0" b="0"/>
          <a:pathLst>
            <a:path>
              <a:moveTo>
                <a:pt x="0" y="28317"/>
              </a:moveTo>
              <a:lnTo>
                <a:pt x="1213088" y="2831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500" kern="1200"/>
        </a:p>
      </dsp:txBody>
      <dsp:txXfrm>
        <a:off x="2694927" y="2172935"/>
        <a:ext cx="60654" cy="60654"/>
      </dsp:txXfrm>
    </dsp:sp>
    <dsp:sp modelId="{3A4A19EA-CEA3-4A32-8784-28836A53C366}">
      <dsp:nvSpPr>
        <dsp:cNvPr id="0" name=""/>
        <dsp:cNvSpPr/>
      </dsp:nvSpPr>
      <dsp:spPr>
        <a:xfrm>
          <a:off x="3178327" y="2288214"/>
          <a:ext cx="6183944" cy="63662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</a:rPr>
            <a:t>Maximize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</a:rPr>
            <a:t> performance of “</a:t>
          </a:r>
          <a:r>
            <a:rPr lang="nl-NL" sz="1800" kern="1200" dirty="0" err="1">
              <a:solidFill>
                <a:prstClr val="white"/>
              </a:solidFill>
              <a:latin typeface="Adelle BS Office"/>
              <a:ea typeface="+mn-ea"/>
              <a:cs typeface="+mn-cs"/>
            </a:rPr>
            <a:t>main</a:t>
          </a:r>
          <a:r>
            <a:rPr lang="nl-NL" sz="1800" kern="1200" dirty="0">
              <a:solidFill>
                <a:prstClr val="white"/>
              </a:solidFill>
              <a:latin typeface="Adelle BS Office"/>
              <a:ea typeface="+mn-ea"/>
              <a:cs typeface="+mn-cs"/>
            </a:rPr>
            <a:t>” product - website</a:t>
          </a:r>
        </a:p>
      </dsp:txBody>
      <dsp:txXfrm>
        <a:off x="3196973" y="2306860"/>
        <a:ext cx="6146652" cy="5993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72A38B-F9FA-4036-A084-652409E98F08}" type="datetimeFigureOut">
              <a:rPr lang="en-GB" smtClean="0"/>
              <a:t>05/04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36F85-577F-4A92-A47F-D540A2BCC8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708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659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36339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08693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581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20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5396731E-F78E-472E-B8C4-1551AA34A679}" type="datetime1">
              <a:rPr lang="en-GB" smtClean="0"/>
              <a:t>05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986931"/>
            <a:ext cx="11326813" cy="322440"/>
          </a:xfrm>
        </p:spPr>
        <p:txBody>
          <a:bodyPr/>
          <a:lstStyle>
            <a:lvl1pPr marL="0" indent="0" algn="ctr">
              <a:buFontTx/>
              <a:buNone/>
              <a:defRPr sz="1200" b="0"/>
            </a:lvl1pPr>
          </a:lstStyle>
          <a:p>
            <a:pPr lvl="0"/>
            <a:r>
              <a:rPr lang="en-GB" noProof="0" dirty="0"/>
              <a:t>Insert Day XX Month XXXX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80000" y="2349404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799" y="908277"/>
            <a:ext cx="11326813" cy="604837"/>
          </a:xfrm>
        </p:spPr>
        <p:txBody>
          <a:bodyPr anchor="b"/>
          <a:lstStyle>
            <a:lvl1pPr algn="ctr">
              <a:defRPr sz="18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799" y="1556556"/>
            <a:ext cx="11326813" cy="512762"/>
          </a:xfrm>
        </p:spPr>
        <p:txBody>
          <a:bodyPr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18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7880" y="3178747"/>
            <a:ext cx="4856065" cy="504000"/>
          </a:xfrm>
          <a:prstGeom prst="rect">
            <a:avLst/>
          </a:prstGeom>
        </p:spPr>
      </p:pic>
      <p:sp>
        <p:nvSpPr>
          <p:cNvPr id="15" name="Guidetext"/>
          <p:cNvSpPr>
            <a:spLocks/>
          </p:cNvSpPr>
          <p:nvPr userDrawn="1"/>
        </p:nvSpPr>
        <p:spPr bwMode="gray">
          <a:xfrm>
            <a:off x="-1733550" y="2528389"/>
            <a:ext cx="1595437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drawing guides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check on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</p:txBody>
      </p:sp>
      <p:sp>
        <p:nvSpPr>
          <p:cNvPr id="16" name="Guidetext"/>
          <p:cNvSpPr>
            <a:spLocks/>
          </p:cNvSpPr>
          <p:nvPr userDrawn="1"/>
        </p:nvSpPr>
        <p:spPr bwMode="gray">
          <a:xfrm>
            <a:off x="-1733550" y="1002698"/>
            <a:ext cx="1595437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layouts in the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New Slides</a:t>
            </a:r>
            <a:endParaRPr lang="en-GB" sz="10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6144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,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06400" y="1754189"/>
            <a:ext cx="2444400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881200" y="1754188"/>
            <a:ext cx="244243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Date Placeholder 13" hidden="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9998DDF-DDAF-4133-A98F-39E05370E4E9}" type="datetime1">
              <a:rPr lang="en-GB" smtClean="0"/>
              <a:t>05/04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868363" y="1798638"/>
            <a:ext cx="2398712" cy="3960812"/>
          </a:xfrm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6"/>
          </p:nvPr>
        </p:nvSpPr>
        <p:spPr>
          <a:xfrm>
            <a:off x="6238876" y="1798638"/>
            <a:ext cx="2398712" cy="3960812"/>
          </a:xfrm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6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7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8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89965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8"/>
            <a:ext cx="5083175" cy="3960811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29E12F-45BE-4E7C-948E-FDF1D2105AB3}" type="datetime1">
              <a:rPr lang="en-GB" smtClean="0"/>
              <a:t>05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195600" y="1754189"/>
            <a:ext cx="5130000" cy="4005262"/>
          </a:xfrm>
        </p:spPr>
        <p:txBody>
          <a:bodyPr numCol="1" spcCol="252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7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8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3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19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306330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caption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8"/>
            <a:ext cx="5083175" cy="3535361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868363" y="5431491"/>
            <a:ext cx="5083175" cy="435909"/>
          </a:xfrm>
        </p:spPr>
        <p:txBody>
          <a:bodyPr/>
          <a:lstStyle>
            <a:lvl1pPr marL="0" indent="0">
              <a:lnSpc>
                <a:spcPct val="117000"/>
              </a:lnSpc>
              <a:spcBef>
                <a:spcPts val="0"/>
              </a:spcBef>
              <a:buNone/>
              <a:defRPr sz="1000" b="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29E12F-45BE-4E7C-948E-FDF1D2105AB3}" type="datetime1">
              <a:rPr lang="en-GB" smtClean="0"/>
              <a:t>05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185241" y="1734093"/>
            <a:ext cx="5138397" cy="4005262"/>
          </a:xfrm>
        </p:spPr>
        <p:txBody>
          <a:bodyPr numCol="1" spcCol="252000"/>
          <a:lstStyle>
            <a:lvl1pPr marL="36000" indent="-36000">
              <a:lnSpc>
                <a:spcPct val="119000"/>
              </a:lnSpc>
              <a:spcBef>
                <a:spcPts val="0"/>
              </a:spcBef>
              <a:spcAft>
                <a:spcPts val="1200"/>
              </a:spcAft>
              <a:buSzPct val="25000"/>
              <a:buFont typeface="Adelle BS" pitchFamily="50" charset="0"/>
              <a:buChar char=" "/>
              <a:defRPr sz="1600" b="0" i="1" spc="50" baseline="0"/>
            </a:lvl1pPr>
            <a:lvl2pPr marL="50400" indent="-504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b="1" cap="all" spc="50" baseline="0"/>
            </a:lvl2pPr>
            <a:lvl3pPr marL="50400" indent="-504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3pPr>
            <a:lvl4pPr marL="248400" indent="-190500">
              <a:spcBef>
                <a:spcPts val="1800"/>
              </a:spcBef>
              <a:defRPr sz="1200" spc="50" baseline="0"/>
            </a:lvl4pPr>
            <a:lvl5pPr marL="450000" indent="-190500">
              <a:spcBef>
                <a:spcPts val="1800"/>
              </a:spcBef>
              <a:defRPr sz="1200" spc="50" baseline="0"/>
            </a:lvl5pPr>
            <a:lvl6pPr marL="650875" indent="-190500">
              <a:spcBef>
                <a:spcPts val="1800"/>
              </a:spcBef>
              <a:defRPr sz="120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AutoShape 4"/>
          <p:cNvSpPr>
            <a:spLocks/>
          </p:cNvSpPr>
          <p:nvPr userDrawn="1"/>
        </p:nvSpPr>
        <p:spPr bwMode="gray">
          <a:xfrm>
            <a:off x="-1974850" y="1819503"/>
            <a:ext cx="1830387" cy="207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or/and bulleted list</a:t>
            </a: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Manchet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Level = Regular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-6. Level = Bulleted lis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12337048" y="1754188"/>
            <a:ext cx="1647107" cy="294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600" b="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rPr>
              <a:t>Manchet</a:t>
            </a:r>
            <a:r>
              <a:rPr lang="en-GB" sz="1600" b="0" i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rPr>
              <a:t> text written here</a:t>
            </a:r>
            <a:endParaRPr lang="en-GB" sz="1600" b="0" i="1" noProof="1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0" marR="0" indent="0" algn="l" defTabSz="4572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odytext 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2979307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,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68362" y="1754189"/>
            <a:ext cx="7769225" cy="1220123"/>
          </a:xfrm>
        </p:spPr>
        <p:txBody>
          <a:bodyPr/>
          <a:lstStyle>
            <a:lvl1pPr marL="0" indent="0">
              <a:lnSpc>
                <a:spcPct val="119000"/>
              </a:lnSpc>
              <a:buFontTx/>
              <a:buNone/>
              <a:defRPr lang="en-GB" sz="1600" b="0" i="1" u="none" strike="noStrike" spc="7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58991-706B-4B60-9D1A-67D4247515DF}" type="datetime1">
              <a:rPr lang="en-GB" smtClean="0"/>
              <a:t>05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2" y="3113357"/>
            <a:ext cx="5083175" cy="2646094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6238875" y="3087975"/>
            <a:ext cx="5084763" cy="2674607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AutoShape 4"/>
          <p:cNvSpPr>
            <a:spLocks/>
          </p:cNvSpPr>
          <p:nvPr userDrawn="1"/>
        </p:nvSpPr>
        <p:spPr bwMode="gray">
          <a:xfrm>
            <a:off x="12337048" y="3069556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4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5" name="AutoShape 4"/>
          <p:cNvSpPr>
            <a:spLocks/>
          </p:cNvSpPr>
          <p:nvPr userDrawn="1"/>
        </p:nvSpPr>
        <p:spPr bwMode="gray">
          <a:xfrm>
            <a:off x="-1648178" y="3102987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39300796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8926513" y="1754189"/>
            <a:ext cx="2397126" cy="4005262"/>
          </a:xfrm>
        </p:spPr>
        <p:txBody>
          <a:bodyPr anchor="b" anchorCtr="0"/>
          <a:lstStyle>
            <a:lvl1pPr marL="0" indent="0">
              <a:lnSpc>
                <a:spcPct val="117000"/>
              </a:lnSpc>
              <a:spcBef>
                <a:spcPts val="0"/>
              </a:spcBef>
              <a:buNone/>
              <a:defRPr sz="1200" b="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7"/>
            <a:ext cx="7769225" cy="3960813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F73837-93B9-4FEC-B6EE-6EA5B23AE5E0}" type="datetime1">
              <a:rPr lang="en-GB" smtClean="0"/>
              <a:t>05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1599952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8926513" y="1754189"/>
            <a:ext cx="2397126" cy="4005262"/>
          </a:xfrm>
        </p:spPr>
        <p:txBody>
          <a:bodyPr anchor="t" anchorCtr="0"/>
          <a:lstStyle>
            <a:lvl1pPr marL="0" indent="0">
              <a:lnSpc>
                <a:spcPct val="117000"/>
              </a:lnSpc>
              <a:spcBef>
                <a:spcPts val="0"/>
              </a:spcBef>
              <a:buNone/>
              <a:defRPr sz="1200" b="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868363" y="1798637"/>
            <a:ext cx="7769225" cy="3960813"/>
          </a:xfrm>
        </p:spPr>
        <p:txBody>
          <a:bodyPr tIns="576000" anchor="ctr" anchorCtr="0"/>
          <a:lstStyle>
            <a:lvl1pPr marL="0" indent="0" algn="ctr">
              <a:buNone/>
              <a:defRPr b="1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F73837-93B9-4FEC-B6EE-6EA5B23AE5E0}" type="datetime1">
              <a:rPr lang="en-GB" smtClean="0"/>
              <a:t>05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30281071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C292FF-328A-4A23-8B23-1AAF91CB0E37}" type="datetime1">
              <a:rPr lang="en-GB" smtClean="0"/>
              <a:t>05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38"/>
            <a:ext cx="12240000" cy="6858038"/>
          </a:xfrm>
          <a:prstGeom prst="rect">
            <a:avLst/>
          </a:prstGeom>
          <a:solidFill>
            <a:srgbClr val="9293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332BF737-3C4C-4ABF-A6E2-16A4835A99EE}" type="datetime1">
              <a:rPr lang="en-GB" smtClean="0"/>
              <a:t>05/04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064" y="3178747"/>
            <a:ext cx="4856065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2698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38"/>
            <a:ext cx="12189600" cy="6858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998DDF-DDAF-4133-A98F-39E05370E4E9}" type="datetime1">
              <a:rPr lang="en-GB" smtClean="0"/>
              <a:t>05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58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31801" y="161528"/>
            <a:ext cx="10891838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868363" y="1744762"/>
            <a:ext cx="10455275" cy="4005262"/>
          </a:xfrm>
        </p:spPr>
        <p:txBody>
          <a:bodyPr/>
          <a:lstStyle>
            <a:lvl1pPr>
              <a:spcBef>
                <a:spcPts val="2000"/>
              </a:spcBef>
              <a:defRPr sz="1400" baseline="0"/>
            </a:lvl1pPr>
            <a:lvl2pPr>
              <a:defRPr sz="1400" baseline="0"/>
            </a:lvl2pPr>
            <a:lvl3pPr>
              <a:defRPr sz="1400" baseline="0"/>
            </a:lvl3pPr>
            <a:lvl4pPr>
              <a:defRPr sz="1400" baseline="0"/>
            </a:lvl4pPr>
            <a:lvl5pPr>
              <a:defRPr sz="14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6209A0-71F7-44B6-96D7-5D458705F9C2}" type="datetime1">
              <a:rPr lang="en-GB" smtClean="0"/>
              <a:t>05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12" name="AutoShape 4"/>
          <p:cNvSpPr>
            <a:spLocks/>
          </p:cNvSpPr>
          <p:nvPr userDrawn="1"/>
        </p:nvSpPr>
        <p:spPr bwMode="gray">
          <a:xfrm>
            <a:off x="-1659467" y="2326223"/>
            <a:ext cx="1515004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 bulleted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</a:t>
            </a:r>
            <a:endParaRPr lang="en-GB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to fifth level = 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bulleted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  <p:sp>
        <p:nvSpPr>
          <p:cNvPr id="13" name="Text Placeholder 2"/>
          <p:cNvSpPr txBox="1">
            <a:spLocks/>
          </p:cNvSpPr>
          <p:nvPr userDrawn="1"/>
        </p:nvSpPr>
        <p:spPr>
          <a:xfrm>
            <a:off x="12277620" y="1754188"/>
            <a:ext cx="2054830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000" spc="0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– bullets:</a:t>
            </a:r>
            <a:endParaRPr lang="da-DK" noProof="1"/>
          </a:p>
          <a:p>
            <a:endParaRPr lang="da-DK" noProof="1"/>
          </a:p>
          <a:p>
            <a:pPr marL="190800" indent="-190800">
              <a:buFont typeface="Arial Black" panose="020B0A04020102020204" pitchFamily="34" charset="0"/>
              <a:buChar char="-"/>
            </a:pPr>
            <a:r>
              <a:rPr lang="da-DK" noProof="1"/>
              <a:t>First level = Bulleted list in bold text</a:t>
            </a:r>
          </a:p>
          <a:p>
            <a:pPr lvl="1"/>
            <a:r>
              <a:rPr lang="da-DK" noProof="1"/>
              <a:t>Use TAB-key for second level = regular bulleted list</a:t>
            </a:r>
          </a:p>
          <a:p>
            <a:pPr lvl="2"/>
            <a:r>
              <a:rPr lang="da-DK" noProof="1"/>
              <a:t>Third level</a:t>
            </a:r>
          </a:p>
          <a:p>
            <a:pPr lvl="3"/>
            <a:r>
              <a:rPr lang="da-DK" noProof="1"/>
              <a:t>Fourth level</a:t>
            </a:r>
          </a:p>
          <a:p>
            <a:pPr lvl="4"/>
            <a:r>
              <a:rPr lang="da-DK" noProof="1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240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799" y="2661701"/>
            <a:ext cx="11326813" cy="604837"/>
          </a:xfrm>
        </p:spPr>
        <p:txBody>
          <a:bodyPr anchor="b"/>
          <a:lstStyle>
            <a:lvl1pPr algn="ctr">
              <a:defRPr sz="3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799" y="3297229"/>
            <a:ext cx="11326813" cy="512762"/>
          </a:xfrm>
        </p:spPr>
        <p:txBody>
          <a:bodyPr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30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60E84820-AE3B-4F40-91D8-38E6F87297BA}" type="datetime1">
              <a:rPr lang="en-GB" smtClean="0"/>
              <a:t>05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8740" y="1213229"/>
            <a:ext cx="2095200" cy="217456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986800"/>
            <a:ext cx="11326813" cy="322440"/>
          </a:xfrm>
        </p:spPr>
        <p:txBody>
          <a:bodyPr/>
          <a:lstStyle>
            <a:lvl1pPr marL="0" indent="0" algn="ctr">
              <a:buFontTx/>
              <a:buNone/>
              <a:defRPr sz="1200" b="0"/>
            </a:lvl1pPr>
          </a:lstStyle>
          <a:p>
            <a:pPr lvl="0"/>
            <a:r>
              <a:rPr lang="en-GB" noProof="0" dirty="0"/>
              <a:t>Insert Day XX Month XXXX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880000" y="2163130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Guidetext"/>
          <p:cNvSpPr>
            <a:spLocks/>
          </p:cNvSpPr>
          <p:nvPr userDrawn="1"/>
        </p:nvSpPr>
        <p:spPr bwMode="gray">
          <a:xfrm>
            <a:off x="-1733550" y="2528389"/>
            <a:ext cx="1595437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drawing guides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check on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</p:txBody>
      </p:sp>
      <p:sp>
        <p:nvSpPr>
          <p:cNvPr id="17" name="Guidetext"/>
          <p:cNvSpPr>
            <a:spLocks/>
          </p:cNvSpPr>
          <p:nvPr userDrawn="1"/>
        </p:nvSpPr>
        <p:spPr bwMode="gray">
          <a:xfrm>
            <a:off x="-1733550" y="1002698"/>
            <a:ext cx="1595437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layouts in the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New Slides</a:t>
            </a:r>
            <a:endParaRPr lang="en-GB" sz="10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338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240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799" y="2661701"/>
            <a:ext cx="11326813" cy="604837"/>
          </a:xfrm>
        </p:spPr>
        <p:txBody>
          <a:bodyPr anchor="b"/>
          <a:lstStyle>
            <a:lvl1pPr algn="ctr">
              <a:defRPr sz="3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799" y="3297229"/>
            <a:ext cx="11326813" cy="512762"/>
          </a:xfrm>
        </p:spPr>
        <p:txBody>
          <a:bodyPr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30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29395"/>
                </a:solidFill>
              </a:defRPr>
            </a:lvl1pPr>
          </a:lstStyle>
          <a:p>
            <a:fld id="{38563CE8-0E87-4D7D-ABCB-FE95BC1C2E97}" type="datetime1">
              <a:rPr lang="en-GB" smtClean="0"/>
              <a:t>05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4050" y="5960547"/>
            <a:ext cx="1755129" cy="182161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267616"/>
            <a:ext cx="11326813" cy="322440"/>
          </a:xfrm>
        </p:spPr>
        <p:txBody>
          <a:bodyPr/>
          <a:lstStyle>
            <a:lvl1pPr marL="0" indent="0" algn="ctr">
              <a:buFontTx/>
              <a:buNone/>
              <a:defRPr sz="1200" b="0"/>
            </a:lvl1pPr>
          </a:lstStyle>
          <a:p>
            <a:pPr lvl="0"/>
            <a:r>
              <a:rPr lang="en-GB" noProof="0" dirty="0"/>
              <a:t>Insert Day XX Month XXXX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80000" y="2163130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Guidetext"/>
          <p:cNvSpPr>
            <a:spLocks/>
          </p:cNvSpPr>
          <p:nvPr userDrawn="1"/>
        </p:nvSpPr>
        <p:spPr bwMode="gray">
          <a:xfrm>
            <a:off x="-1733550" y="2528389"/>
            <a:ext cx="1595437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 drawing guides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</a:t>
            </a:r>
          </a:p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check on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</p:txBody>
      </p:sp>
      <p:sp>
        <p:nvSpPr>
          <p:cNvPr id="16" name="Guidetext"/>
          <p:cNvSpPr>
            <a:spLocks/>
          </p:cNvSpPr>
          <p:nvPr userDrawn="1"/>
        </p:nvSpPr>
        <p:spPr bwMode="gray">
          <a:xfrm>
            <a:off x="-1733550" y="1002698"/>
            <a:ext cx="1595437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0"/>
              </a:spcBef>
              <a:defRPr/>
            </a:pP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layouts in the</a:t>
            </a:r>
            <a:r>
              <a:rPr lang="en-GB" sz="1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New Slides</a:t>
            </a:r>
            <a:endParaRPr lang="en-GB" sz="1000" b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2011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68363" y="1743709"/>
            <a:ext cx="5083175" cy="4015742"/>
          </a:xfrm>
        </p:spPr>
        <p:txBody>
          <a:bodyPr/>
          <a:lstStyle>
            <a:lvl1pPr marL="0" indent="0">
              <a:lnSpc>
                <a:spcPct val="119000"/>
              </a:lnSpc>
              <a:spcBef>
                <a:spcPts val="0"/>
              </a:spcBef>
              <a:buFontTx/>
              <a:buNone/>
              <a:defRPr lang="en-GB" sz="1600" b="0" i="1" u="none" strike="noStrike" spc="7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DC8CA0-4AF8-4EF8-96E2-F8165D13AFF0}" type="datetime1">
              <a:rPr lang="en-GB" smtClean="0"/>
              <a:t>05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AutoShape 4"/>
          <p:cNvSpPr>
            <a:spLocks/>
          </p:cNvSpPr>
          <p:nvPr userDrawn="1"/>
        </p:nvSpPr>
        <p:spPr bwMode="gray">
          <a:xfrm>
            <a:off x="-1659467" y="2322513"/>
            <a:ext cx="1515004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  <p:sp>
        <p:nvSpPr>
          <p:cNvPr id="23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4" name="Text Box 12"/>
          <p:cNvSpPr txBox="1">
            <a:spLocks noChangeArrowheads="1"/>
          </p:cNvSpPr>
          <p:nvPr userDrawn="1"/>
        </p:nvSpPr>
        <p:spPr bwMode="auto">
          <a:xfrm>
            <a:off x="-1659467" y="1809750"/>
            <a:ext cx="151500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he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first colomn is </a:t>
            </a:r>
            <a:b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a manchet </a:t>
            </a:r>
            <a:endParaRPr lang="en-GB" altLang="da-DK" sz="1000" b="1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25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193691" y="1754188"/>
            <a:ext cx="5129947" cy="4005263"/>
          </a:xfrm>
        </p:spPr>
        <p:txBody>
          <a:bodyPr numCol="1" spcCol="252000"/>
          <a:lstStyle>
            <a:lvl1pPr marL="36000" indent="-360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spcAft>
                <a:spcPts val="0"/>
              </a:spcAft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spcAft>
                <a:spcPts val="0"/>
              </a:spcAft>
              <a:defRPr sz="1200" spc="50" baseline="0"/>
            </a:lvl3pPr>
            <a:lvl4pPr marL="439200">
              <a:spcBef>
                <a:spcPts val="1800"/>
              </a:spcBef>
              <a:spcAft>
                <a:spcPts val="0"/>
              </a:spcAft>
              <a:defRPr sz="1200" spc="50" baseline="0"/>
            </a:lvl4pPr>
            <a:lvl5pPr marL="633600">
              <a:spcBef>
                <a:spcPts val="1800"/>
              </a:spcBef>
              <a:spcAft>
                <a:spcPts val="0"/>
              </a:spcAft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1359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868363" y="1743709"/>
            <a:ext cx="5083175" cy="4015742"/>
          </a:xfrm>
        </p:spPr>
        <p:txBody>
          <a:bodyPr/>
          <a:lstStyle>
            <a:lvl1pPr marL="0" indent="0">
              <a:lnSpc>
                <a:spcPct val="119000"/>
              </a:lnSpc>
              <a:spcBef>
                <a:spcPts val="0"/>
              </a:spcBef>
              <a:buFontTx/>
              <a:buNone/>
              <a:defRPr lang="en-GB" sz="1600" b="0" i="1" u="none" strike="noStrike" spc="7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9"/>
          </p:nvPr>
        </p:nvSpPr>
        <p:spPr>
          <a:xfrm>
            <a:off x="6238875" y="1754188"/>
            <a:ext cx="5084763" cy="40052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DC8CA0-4AF8-4EF8-96E2-F8165D13AFF0}" type="datetime1">
              <a:rPr lang="en-GB" smtClean="0"/>
              <a:t>05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1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0" name="Text Box 12"/>
          <p:cNvSpPr txBox="1">
            <a:spLocks noChangeArrowheads="1"/>
          </p:cNvSpPr>
          <p:nvPr userDrawn="1"/>
        </p:nvSpPr>
        <p:spPr bwMode="auto">
          <a:xfrm>
            <a:off x="-1659467" y="1809750"/>
            <a:ext cx="151500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he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first colomn is </a:t>
            </a:r>
            <a:b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a manchet </a:t>
            </a:r>
            <a:endParaRPr lang="en-GB" altLang="da-DK" sz="1000" b="1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3" name="AutoShape 4"/>
          <p:cNvSpPr>
            <a:spLocks/>
          </p:cNvSpPr>
          <p:nvPr userDrawn="1"/>
        </p:nvSpPr>
        <p:spPr bwMode="gray">
          <a:xfrm>
            <a:off x="-1659467" y="2326223"/>
            <a:ext cx="1515004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 bulleted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</a:t>
            </a:r>
            <a:endParaRPr lang="en-GB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to fifth level = 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bulleted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</a:t>
            </a:r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12277620" y="1754188"/>
            <a:ext cx="2054830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000" spc="0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– bullets:</a:t>
            </a:r>
            <a:endParaRPr lang="da-DK" noProof="1"/>
          </a:p>
          <a:p>
            <a:endParaRPr lang="da-DK" noProof="1"/>
          </a:p>
          <a:p>
            <a:pPr marL="190800" indent="-190800">
              <a:buFont typeface="Arial Black" panose="020B0A04020102020204" pitchFamily="34" charset="0"/>
              <a:buChar char="-"/>
            </a:pPr>
            <a:r>
              <a:rPr lang="da-DK" noProof="1"/>
              <a:t>First level = Bulleted list in bold text</a:t>
            </a:r>
          </a:p>
          <a:p>
            <a:pPr lvl="1"/>
            <a:r>
              <a:rPr lang="da-DK" noProof="1"/>
              <a:t>Use TAB-key for second level = regular bulleted list</a:t>
            </a:r>
          </a:p>
          <a:p>
            <a:pPr lvl="2"/>
            <a:r>
              <a:rPr lang="da-DK" noProof="1"/>
              <a:t>Third level</a:t>
            </a:r>
          </a:p>
          <a:p>
            <a:pPr lvl="3"/>
            <a:r>
              <a:rPr lang="da-DK" noProof="1"/>
              <a:t>Fourth level</a:t>
            </a:r>
          </a:p>
          <a:p>
            <a:pPr lvl="4"/>
            <a:r>
              <a:rPr lang="da-DK" noProof="1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49152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824400" y="1754189"/>
            <a:ext cx="5130000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195599" y="1754188"/>
            <a:ext cx="5130000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4287545-B69F-49A8-9E54-38EB83245F58}" type="datetime1">
              <a:rPr lang="en-GB" smtClean="0"/>
              <a:t>05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19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30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3193488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ulle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1999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868363" y="1754188"/>
            <a:ext cx="5083175" cy="40052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6238875" y="1754188"/>
            <a:ext cx="5084763" cy="40052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DC8CA0-4AF8-4EF8-96E2-F8165D13AFF0}" type="datetime1">
              <a:rPr lang="en-GB" smtClean="0"/>
              <a:t>05/04/2018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13" name="AutoShape 4"/>
          <p:cNvSpPr>
            <a:spLocks/>
          </p:cNvSpPr>
          <p:nvPr userDrawn="1"/>
        </p:nvSpPr>
        <p:spPr bwMode="gray">
          <a:xfrm>
            <a:off x="-1659467" y="2326223"/>
            <a:ext cx="1515004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 bulleted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</a:t>
            </a:r>
            <a:endParaRPr lang="en-GB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to fifth level = 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r bulleted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</a:p>
          <a:p>
            <a:pPr marL="0" indent="0" algn="r" eaLnBrk="1" hangingPunct="1">
              <a:spcBef>
                <a:spcPts val="0"/>
              </a:spcBef>
              <a:spcAft>
                <a:spcPts val="300"/>
              </a:spcAft>
              <a:buFontTx/>
              <a:buNone/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</a:t>
            </a:r>
          </a:p>
        </p:txBody>
      </p:sp>
      <p:sp>
        <p:nvSpPr>
          <p:cNvPr id="14" name="Text Placeholder 2"/>
          <p:cNvSpPr txBox="1">
            <a:spLocks/>
          </p:cNvSpPr>
          <p:nvPr userDrawn="1"/>
        </p:nvSpPr>
        <p:spPr>
          <a:xfrm>
            <a:off x="12277620" y="1754188"/>
            <a:ext cx="2054830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0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1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2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632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4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540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48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356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26400" indent="-190800" algn="l" defTabSz="914400" rtl="0" eaLnBrk="1" latinLnBrk="0" hangingPunct="1">
              <a:lnSpc>
                <a:spcPct val="125000"/>
              </a:lnSpc>
              <a:spcBef>
                <a:spcPts val="1800"/>
              </a:spcBef>
              <a:buFont typeface="Adelle BS" pitchFamily="50" charset="0"/>
              <a:buChar char="-"/>
              <a:defRPr sz="12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a-DK" sz="1000" spc="0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– bullets:</a:t>
            </a:r>
            <a:endParaRPr lang="da-DK" noProof="1"/>
          </a:p>
          <a:p>
            <a:endParaRPr lang="da-DK" noProof="1"/>
          </a:p>
          <a:p>
            <a:pPr marL="190800" indent="-190800">
              <a:buFont typeface="Arial Black" panose="020B0A04020102020204" pitchFamily="34" charset="0"/>
              <a:buChar char="-"/>
            </a:pPr>
            <a:r>
              <a:rPr lang="da-DK" noProof="1"/>
              <a:t>First level = Bulleted list in bold text</a:t>
            </a:r>
          </a:p>
          <a:p>
            <a:pPr lvl="1"/>
            <a:r>
              <a:rPr lang="da-DK" noProof="1"/>
              <a:t>Use TAB-key for second level = regular bulleted list</a:t>
            </a:r>
          </a:p>
          <a:p>
            <a:pPr lvl="2"/>
            <a:r>
              <a:rPr lang="da-DK" noProof="1"/>
              <a:t>Third level</a:t>
            </a:r>
          </a:p>
          <a:p>
            <a:pPr lvl="3"/>
            <a:r>
              <a:rPr lang="da-DK" noProof="1"/>
              <a:t>Fourth level</a:t>
            </a:r>
          </a:p>
          <a:p>
            <a:pPr lvl="4"/>
            <a:r>
              <a:rPr lang="da-DK" noProof="1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671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432000" y="162000"/>
            <a:ext cx="10893600" cy="5724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2300" b="0" cap="all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824399" y="1754189"/>
            <a:ext cx="2442676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506400" y="1754188"/>
            <a:ext cx="244513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192000" y="1754188"/>
            <a:ext cx="244558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8881200" y="1754188"/>
            <a:ext cx="2442438" cy="4005262"/>
          </a:xfrm>
        </p:spPr>
        <p:txBody>
          <a:bodyPr numCol="1" spcCol="288000"/>
          <a:lstStyle>
            <a:lvl1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cap="all" spc="50" baseline="0"/>
            </a:lvl1pPr>
            <a:lvl2pPr marL="36000" indent="-36000">
              <a:spcBef>
                <a:spcPts val="1800"/>
              </a:spcBef>
              <a:buSzPct val="25000"/>
              <a:buFont typeface="Adelle BS" pitchFamily="50" charset="0"/>
              <a:buChar char=" "/>
              <a:defRPr sz="1200" spc="50" baseline="0"/>
            </a:lvl2pPr>
            <a:lvl3pPr marL="237600">
              <a:spcBef>
                <a:spcPts val="1800"/>
              </a:spcBef>
              <a:defRPr sz="1200" spc="50" baseline="0"/>
            </a:lvl3pPr>
            <a:lvl4pPr marL="439200">
              <a:spcBef>
                <a:spcPts val="1800"/>
              </a:spcBef>
              <a:defRPr sz="1200" spc="50" baseline="0"/>
            </a:lvl4pPr>
            <a:lvl5pPr marL="633600">
              <a:spcBef>
                <a:spcPts val="1800"/>
              </a:spcBef>
              <a:defRPr sz="1200" spc="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Date Placeholder 13" hidden="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9998DDF-DDAF-4133-A98F-39E05370E4E9}" type="datetime1">
              <a:rPr lang="en-GB" smtClean="0"/>
              <a:t>05/04/2018</a:t>
            </a:fld>
            <a:endParaRPr lang="en-GB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AutoShape 4"/>
          <p:cNvSpPr>
            <a:spLocks/>
          </p:cNvSpPr>
          <p:nvPr userDrawn="1"/>
        </p:nvSpPr>
        <p:spPr bwMode="gray">
          <a:xfrm>
            <a:off x="12337048" y="1754188"/>
            <a:ext cx="1647107" cy="325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  <a:defRPr/>
            </a:pPr>
            <a:r>
              <a:rPr lang="en-GB" sz="1000" b="1" noProof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pPr algn="l">
              <a:defRPr/>
            </a:pP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ndunt magnate qui omnist audit proreris </a:t>
            </a:r>
            <a:b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fr-FR" sz="12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es debis doluptatia dellabo.</a:t>
            </a: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endParaRPr lang="fr-FR" sz="1200" b="0" noProof="1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en-GB" sz="1200" b="1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HEADING</a:t>
            </a:r>
          </a:p>
          <a:p>
            <a:pPr algn="l">
              <a:buNone/>
              <a:defRPr/>
            </a:pPr>
            <a:endParaRPr lang="en-GB" sz="1200" b="1" kern="1200" noProof="1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Landunt magnate qui omnist audit proreris </a:t>
            </a:r>
          </a:p>
          <a:p>
            <a:pPr algn="l">
              <a:buNone/>
              <a:defRPr/>
            </a:pPr>
            <a:r>
              <a:rPr lang="fr-FR" sz="1200" b="0" kern="1200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res debis doluptatia dellabo.</a:t>
            </a:r>
          </a:p>
        </p:txBody>
      </p:sp>
      <p:sp>
        <p:nvSpPr>
          <p:cNvPr id="26" name="Text Box 12"/>
          <p:cNvSpPr txBox="1">
            <a:spLocks noChangeArrowheads="1"/>
          </p:cNvSpPr>
          <p:nvPr userDrawn="1"/>
        </p:nvSpPr>
        <p:spPr bwMode="auto">
          <a:xfrm>
            <a:off x="852754" y="6999793"/>
            <a:ext cx="77364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dd Title – day XX month XXXX in the footer</a:t>
            </a:r>
            <a:b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Enter the title and date in the field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r>
              <a:rPr lang="en-GB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  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to All</a:t>
            </a:r>
          </a:p>
        </p:txBody>
      </p:sp>
      <p:sp>
        <p:nvSpPr>
          <p:cNvPr id="28" name="AutoShape 4"/>
          <p:cNvSpPr>
            <a:spLocks/>
          </p:cNvSpPr>
          <p:nvPr userDrawn="1"/>
        </p:nvSpPr>
        <p:spPr bwMode="gray">
          <a:xfrm>
            <a:off x="-1648178" y="1809750"/>
            <a:ext cx="1503715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</a:t>
            </a:r>
            <a:b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en-GB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/and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ed list </a:t>
            </a:r>
          </a:p>
          <a:p>
            <a:pPr algn="r" eaLnBrk="1" hangingPunct="1">
              <a:spcBef>
                <a:spcPct val="0"/>
              </a:spcBef>
              <a:spcAft>
                <a:spcPts val="3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endParaRPr lang="en-GB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=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da-DK" sz="1000" b="1" cap="all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Regular tex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ed list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return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Enter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nually divide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ext line and don’t want</a:t>
            </a:r>
            <a:r>
              <a:rPr lang="en-GB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pace between lines</a:t>
            </a:r>
          </a:p>
        </p:txBody>
      </p:sp>
    </p:spTree>
    <p:extLst>
      <p:ext uri="{BB962C8B-B14F-4D97-AF65-F5344CB8AC3E}">
        <p14:creationId xmlns:p14="http://schemas.microsoft.com/office/powerpoint/2010/main" val="1566669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341189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1" y="761007"/>
            <a:ext cx="10891838" cy="5738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8363" y="1754188"/>
            <a:ext cx="10455275" cy="4005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10428052" y="6426200"/>
            <a:ext cx="1330562" cy="431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29998DDF-DDAF-4133-A98F-39E05370E4E9}" type="datetime1">
              <a:rPr lang="en-GB" smtClean="0"/>
              <a:t>05/04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3800" y="6326085"/>
            <a:ext cx="8077000" cy="5349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 b="0" cap="all" spc="60" baseline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1801" y="6326085"/>
            <a:ext cx="432000" cy="5319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 b="0" spc="60" baseline="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Logo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6089" y="6290973"/>
            <a:ext cx="1332000" cy="138245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431800" y="1385331"/>
            <a:ext cx="43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49" r:id="rId3"/>
    <p:sldLayoutId id="2147483661" r:id="rId4"/>
    <p:sldLayoutId id="2147483662" r:id="rId5"/>
    <p:sldLayoutId id="2147483673" r:id="rId6"/>
    <p:sldLayoutId id="2147483663" r:id="rId7"/>
    <p:sldLayoutId id="2147483674" r:id="rId8"/>
    <p:sldLayoutId id="2147483669" r:id="rId9"/>
    <p:sldLayoutId id="2147483670" r:id="rId10"/>
    <p:sldLayoutId id="2147483671" r:id="rId11"/>
    <p:sldLayoutId id="2147483664" r:id="rId12"/>
    <p:sldLayoutId id="2147483665" r:id="rId13"/>
    <p:sldLayoutId id="2147483666" r:id="rId14"/>
    <p:sldLayoutId id="2147483672" r:id="rId15"/>
    <p:sldLayoutId id="2147483654" r:id="rId16"/>
    <p:sldLayoutId id="2147483668" r:id="rId17"/>
    <p:sldLayoutId id="2147483655" r:id="rId18"/>
    <p:sldLayoutId id="2147483675" r:id="rId19"/>
  </p:sldLayoutIdLst>
  <p:hf hd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300" b="1" kern="1200" cap="all" spc="16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25000"/>
        </a:lnSpc>
        <a:spcBef>
          <a:spcPts val="1800"/>
        </a:spcBef>
        <a:buFont typeface="Arial Black" panose="020B0A04020102020204" pitchFamily="34" charset="0"/>
        <a:buChar char="-"/>
        <a:defRPr sz="1200" b="1" kern="1200" spc="50" baseline="0">
          <a:solidFill>
            <a:schemeClr val="tx1"/>
          </a:solidFill>
          <a:latin typeface="+mn-lt"/>
          <a:ea typeface="+mn-ea"/>
          <a:cs typeface="+mn-cs"/>
        </a:defRPr>
      </a:lvl1pPr>
      <a:lvl2pPr marL="1908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2pPr>
      <a:lvl3pPr marL="3816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3pPr>
      <a:lvl4pPr marL="5724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4pPr>
      <a:lvl5pPr marL="7632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5pPr>
      <a:lvl6pPr marL="9540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6pPr>
      <a:lvl7pPr marL="11448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7pPr>
      <a:lvl8pPr marL="13356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8pPr>
      <a:lvl9pPr marL="1526400" indent="-190800" algn="l" defTabSz="914400" rtl="0" eaLnBrk="1" latinLnBrk="0" hangingPunct="1">
        <a:lnSpc>
          <a:spcPct val="125000"/>
        </a:lnSpc>
        <a:spcBef>
          <a:spcPts val="1800"/>
        </a:spcBef>
        <a:buFont typeface="Adelle BS" pitchFamily="50" charset="0"/>
        <a:buChar char="-"/>
        <a:defRPr sz="1200" kern="1200" spc="5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Data" Target="../diagrams/data2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microsoft.com/office/2007/relationships/diagramDrawing" Target="../diagrams/drawing1.xml"/><Relationship Id="rId17" Type="http://schemas.microsoft.com/office/2007/relationships/diagramDrawing" Target="../diagrams/drawing2.xml"/><Relationship Id="rId2" Type="http://schemas.openxmlformats.org/officeDocument/2006/relationships/tags" Target="../tags/tag3.xml"/><Relationship Id="rId16" Type="http://schemas.openxmlformats.org/officeDocument/2006/relationships/diagramColors" Target="../diagrams/colors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2.bin"/><Relationship Id="rId1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1.xml"/><Relationship Id="rId4" Type="http://schemas.openxmlformats.org/officeDocument/2006/relationships/notesSlide" Target="../notesSlides/notesSlide1.xml"/><Relationship Id="rId9" Type="http://schemas.openxmlformats.org/officeDocument/2006/relationships/diagramLayout" Target="../diagrams/layout1.xml"/><Relationship Id="rId14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2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4.xml"/><Relationship Id="rId12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2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2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4.xml"/><Relationship Id="rId9" Type="http://schemas.openxmlformats.org/officeDocument/2006/relationships/diagramQuickStyle" Target="../diagrams/quickStyl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emplates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0445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375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1. What’s the current traffic data situation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2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Current traffic situation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500778-B8C4-48D8-A83D-9EFA68A899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7801" y="1411293"/>
            <a:ext cx="4320000" cy="2598706"/>
          </a:xfrm>
          <a:prstGeom prst="rect">
            <a:avLst/>
          </a:prstGeom>
        </p:spPr>
      </p:pic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FF80D98-8969-4CD8-8470-611B539E65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2457443"/>
              </p:ext>
            </p:extLst>
          </p:nvPr>
        </p:nvGraphicFramePr>
        <p:xfrm>
          <a:off x="-228446" y="2957274"/>
          <a:ext cx="5400000" cy="288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B0B63489-7CED-4E14-A258-E7D6C12633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2835184"/>
              </p:ext>
            </p:extLst>
          </p:nvPr>
        </p:nvGraphicFramePr>
        <p:xfrm>
          <a:off x="7143505" y="2957274"/>
          <a:ext cx="5400000" cy="288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163795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2. Why should we tackle traffic data issues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3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Why is it important to tackle the issues upcoming from the current situation?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406D9AC-0B22-4156-8F3F-890AAD3A72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5628196"/>
              </p:ext>
            </p:extLst>
          </p:nvPr>
        </p:nvGraphicFramePr>
        <p:xfrm>
          <a:off x="1842300" y="2164052"/>
          <a:ext cx="6120000" cy="36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B2B1EF4-A0DD-4BAC-BE60-6B38F434826B}"/>
              </a:ext>
            </a:extLst>
          </p:cNvPr>
          <p:cNvCxnSpPr/>
          <p:nvPr/>
        </p:nvCxnSpPr>
        <p:spPr>
          <a:xfrm>
            <a:off x="7079530" y="5052767"/>
            <a:ext cx="1442301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DAE394E-01F9-45F7-BD02-BE2B55D7CAAC}"/>
              </a:ext>
            </a:extLst>
          </p:cNvPr>
          <p:cNvSpPr txBox="1"/>
          <p:nvPr/>
        </p:nvSpPr>
        <p:spPr>
          <a:xfrm>
            <a:off x="8616099" y="4950270"/>
            <a:ext cx="1376313" cy="204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>
              <a:lnSpc>
                <a:spcPct val="111000"/>
              </a:lnSpc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correct data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A4E156A-7DA6-401E-A93D-E2CA647FC482}"/>
              </a:ext>
            </a:extLst>
          </p:cNvPr>
          <p:cNvCxnSpPr/>
          <p:nvPr/>
        </p:nvCxnSpPr>
        <p:spPr>
          <a:xfrm>
            <a:off x="6251542" y="3881945"/>
            <a:ext cx="1442301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23085D2-7AF1-4FC6-B5E0-FC0D2556D87F}"/>
              </a:ext>
            </a:extLst>
          </p:cNvPr>
          <p:cNvSpPr txBox="1"/>
          <p:nvPr/>
        </p:nvSpPr>
        <p:spPr>
          <a:xfrm>
            <a:off x="7788111" y="3779448"/>
            <a:ext cx="1376313" cy="204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>
              <a:lnSpc>
                <a:spcPct val="111000"/>
              </a:lnSpc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ssing data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2FF935E-266C-4F65-8301-C956271E3370}"/>
              </a:ext>
            </a:extLst>
          </p:cNvPr>
          <p:cNvCxnSpPr>
            <a:cxnSpLocks/>
          </p:cNvCxnSpPr>
          <p:nvPr/>
        </p:nvCxnSpPr>
        <p:spPr>
          <a:xfrm>
            <a:off x="5376317" y="2940710"/>
            <a:ext cx="1596375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EA7A097-AB3B-4298-9E43-22D93FD44323}"/>
              </a:ext>
            </a:extLst>
          </p:cNvPr>
          <p:cNvSpPr txBox="1"/>
          <p:nvPr/>
        </p:nvSpPr>
        <p:spPr>
          <a:xfrm>
            <a:off x="7066959" y="2838213"/>
            <a:ext cx="1376313" cy="204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1000"/>
              </a:lnSpc>
            </a:pPr>
            <a:r>
              <a:rPr lang="nl-NL" sz="1200" spc="50" dirty="0"/>
              <a:t>Maintenance</a:t>
            </a: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7EABF67-02FE-4625-820E-2F211A87EC89}"/>
              </a:ext>
            </a:extLst>
          </p:cNvPr>
          <p:cNvCxnSpPr>
            <a:cxnSpLocks/>
          </p:cNvCxnSpPr>
          <p:nvPr/>
        </p:nvCxnSpPr>
        <p:spPr>
          <a:xfrm>
            <a:off x="5376317" y="2940710"/>
            <a:ext cx="1599363" cy="23998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2C4E044-BDB3-4359-BC7C-EB56F082FA8B}"/>
              </a:ext>
            </a:extLst>
          </p:cNvPr>
          <p:cNvSpPr txBox="1"/>
          <p:nvPr/>
        </p:nvSpPr>
        <p:spPr>
          <a:xfrm>
            <a:off x="7069948" y="3078200"/>
            <a:ext cx="1376313" cy="204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>
              <a:lnSpc>
                <a:spcPct val="111000"/>
              </a:lnSpc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alysi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2169BA9-EBC8-49FE-845F-BD0D92BDAFC2}"/>
              </a:ext>
            </a:extLst>
          </p:cNvPr>
          <p:cNvCxnSpPr>
            <a:cxnSpLocks/>
          </p:cNvCxnSpPr>
          <p:nvPr/>
        </p:nvCxnSpPr>
        <p:spPr>
          <a:xfrm flipV="1">
            <a:off x="5376317" y="2704340"/>
            <a:ext cx="1596375" cy="23637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F65BAA2-6FA9-48F2-B6B2-81153996D3D6}"/>
              </a:ext>
            </a:extLst>
          </p:cNvPr>
          <p:cNvSpPr txBox="1"/>
          <p:nvPr/>
        </p:nvSpPr>
        <p:spPr>
          <a:xfrm>
            <a:off x="7066960" y="2601843"/>
            <a:ext cx="1376313" cy="204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>
              <a:lnSpc>
                <a:spcPct val="111000"/>
              </a:lnSpc>
            </a:pPr>
            <a:r>
              <a:rPr lang="nl-NL" sz="1200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lementation</a:t>
            </a:r>
            <a:endParaRPr lang="nl-NL" sz="1200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72EC628-EDA9-4BFC-A990-92FB609E34D8}"/>
              </a:ext>
            </a:extLst>
          </p:cNvPr>
          <p:cNvCxnSpPr>
            <a:cxnSpLocks/>
          </p:cNvCxnSpPr>
          <p:nvPr/>
        </p:nvCxnSpPr>
        <p:spPr>
          <a:xfrm flipV="1">
            <a:off x="5376317" y="2432410"/>
            <a:ext cx="1596375" cy="504368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BDBA21B-E60E-4D8D-BE28-A844A136A5E5}"/>
              </a:ext>
            </a:extLst>
          </p:cNvPr>
          <p:cNvSpPr txBox="1"/>
          <p:nvPr/>
        </p:nvSpPr>
        <p:spPr>
          <a:xfrm>
            <a:off x="7066960" y="2329913"/>
            <a:ext cx="1376313" cy="204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>
              <a:lnSpc>
                <a:spcPct val="111000"/>
              </a:lnSpc>
            </a:pPr>
            <a:r>
              <a:rPr lang="nl-NL" sz="1200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munication</a:t>
            </a:r>
          </a:p>
        </p:txBody>
      </p:sp>
    </p:spTree>
    <p:extLst>
      <p:ext uri="{BB962C8B-B14F-4D97-AF65-F5344CB8AC3E}">
        <p14:creationId xmlns:p14="http://schemas.microsoft.com/office/powerpoint/2010/main" val="3363247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3. How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4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How can we change current status? 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0B69A55-0D44-4788-BD6D-95E71AE1BE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7821910"/>
              </p:ext>
            </p:extLst>
          </p:nvPr>
        </p:nvGraphicFramePr>
        <p:xfrm>
          <a:off x="238610" y="1915765"/>
          <a:ext cx="4320000" cy="36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A709087-0D30-4F09-B66D-4B313B2F26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610" y="1915765"/>
            <a:ext cx="7200000" cy="31631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A2896DC-ED55-4E50-A118-C94FA648D3E9}"/>
              </a:ext>
            </a:extLst>
          </p:cNvPr>
          <p:cNvSpPr txBox="1"/>
          <p:nvPr/>
        </p:nvSpPr>
        <p:spPr>
          <a:xfrm>
            <a:off x="4270341" y="1527017"/>
            <a:ext cx="923827" cy="204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>
              <a:lnSpc>
                <a:spcPct val="111000"/>
              </a:lnSpc>
            </a:pPr>
            <a:r>
              <a:rPr lang="nl-NL" sz="1200" b="1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ple</a:t>
            </a:r>
            <a:r>
              <a:rPr lang="nl-NL" sz="1200" b="1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641061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4. Future? </a:t>
            </a:r>
          </a:p>
          <a:p>
            <a:r>
              <a:rPr lang="en-US" cap="none" dirty="0"/>
              <a:t>Better, more detailed and trustful source of data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5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How would the future situation look like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21020A54-B84D-499C-A625-D7EEC872F9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8298721"/>
              </p:ext>
            </p:extLst>
          </p:nvPr>
        </p:nvGraphicFramePr>
        <p:xfrm>
          <a:off x="1079892" y="2414849"/>
          <a:ext cx="9383861" cy="36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F6D1EE44-25F6-456E-BD0F-FD859CBE925F}"/>
              </a:ext>
            </a:extLst>
          </p:cNvPr>
          <p:cNvSpPr txBox="1"/>
          <p:nvPr/>
        </p:nvSpPr>
        <p:spPr>
          <a:xfrm>
            <a:off x="6268824" y="2083194"/>
            <a:ext cx="1725105" cy="1999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>
              <a:lnSpc>
                <a:spcPct val="111000"/>
              </a:lnSpc>
            </a:pPr>
            <a:r>
              <a:rPr lang="nl-NL" sz="1200" b="1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g </a:t>
            </a:r>
            <a:r>
              <a:rPr lang="nl-NL" sz="1200" b="1" spc="50" dirty="0"/>
              <a:t>g</a:t>
            </a:r>
            <a:r>
              <a:rPr lang="nl-NL" sz="1200" b="1" kern="1200" spc="50" baseline="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ins</a:t>
            </a:r>
            <a:endParaRPr lang="nl-NL" sz="1200" b="1" kern="1200" spc="5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90A657-7EB1-4366-9BBD-790BAA09DB9B}"/>
              </a:ext>
            </a:extLst>
          </p:cNvPr>
          <p:cNvSpPr txBox="1"/>
          <p:nvPr/>
        </p:nvSpPr>
        <p:spPr>
          <a:xfrm>
            <a:off x="1594700" y="2083195"/>
            <a:ext cx="1725105" cy="204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>
              <a:lnSpc>
                <a:spcPct val="111000"/>
              </a:lnSpc>
            </a:pPr>
            <a:r>
              <a:rPr lang="nl-NL" sz="1200" b="1" kern="1200" spc="5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mall investment 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0A2F6CA-51D9-44BC-B71A-1A1D5A1F7085}"/>
              </a:ext>
            </a:extLst>
          </p:cNvPr>
          <p:cNvCxnSpPr/>
          <p:nvPr/>
        </p:nvCxnSpPr>
        <p:spPr>
          <a:xfrm>
            <a:off x="2281287" y="2414849"/>
            <a:ext cx="0" cy="115791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C6D8E35-2F0E-4736-A736-6068FCD21C57}"/>
              </a:ext>
            </a:extLst>
          </p:cNvPr>
          <p:cNvCxnSpPr>
            <a:cxnSpLocks/>
          </p:cNvCxnSpPr>
          <p:nvPr/>
        </p:nvCxnSpPr>
        <p:spPr>
          <a:xfrm>
            <a:off x="6628615" y="2320523"/>
            <a:ext cx="0" cy="67328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39855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31800" y="161527"/>
            <a:ext cx="11326811" cy="859199"/>
          </a:xfrm>
        </p:spPr>
        <p:txBody>
          <a:bodyPr anchor="t"/>
          <a:lstStyle/>
          <a:p>
            <a:r>
              <a:rPr lang="en-US" cap="none" dirty="0"/>
              <a:t>4. Future? </a:t>
            </a:r>
          </a:p>
          <a:p>
            <a:r>
              <a:rPr lang="en-US" cap="none" dirty="0"/>
              <a:t>Better, more detailed and trustful source of data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US" smtClean="0"/>
              <a:t>6</a:t>
            </a:fld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31799" y="1020726"/>
            <a:ext cx="11326811" cy="2841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111000"/>
              </a:lnSpc>
            </a:pPr>
            <a:r>
              <a:rPr lang="en-US" sz="1200" b="1" spc="50" dirty="0">
                <a:solidFill>
                  <a:schemeClr val="tx1"/>
                </a:solidFill>
              </a:rPr>
              <a:t>Practical examples</a:t>
            </a:r>
            <a:endParaRPr lang="en-US" sz="1200" b="1" spc="50" baseline="0" dirty="0">
              <a:solidFill>
                <a:schemeClr val="tx1"/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093F771-0D0A-4210-86FE-82891F628BF0}"/>
              </a:ext>
            </a:extLst>
          </p:cNvPr>
          <p:cNvSpPr/>
          <p:nvPr/>
        </p:nvSpPr>
        <p:spPr>
          <a:xfrm>
            <a:off x="952107" y="1857080"/>
            <a:ext cx="1555423" cy="707011"/>
          </a:xfrm>
          <a:prstGeom prst="ellipse">
            <a:avLst/>
          </a:prstGeom>
          <a:solidFill>
            <a:schemeClr val="tx2"/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z="1200" spc="50" dirty="0">
                <a:solidFill>
                  <a:schemeClr val="bg1"/>
                </a:solidFill>
              </a:rPr>
              <a:t>Burger menu</a:t>
            </a:r>
            <a:endParaRPr lang="nl-NL" sz="1200" spc="50" baseline="0" noProof="0" dirty="0" err="1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8E90549-6DCE-466B-9B61-28DA4E356E37}"/>
              </a:ext>
            </a:extLst>
          </p:cNvPr>
          <p:cNvSpPr/>
          <p:nvPr/>
        </p:nvSpPr>
        <p:spPr>
          <a:xfrm>
            <a:off x="1155568" y="2714107"/>
            <a:ext cx="1555423" cy="707011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z="1200" spc="50" dirty="0" err="1">
                <a:solidFill>
                  <a:schemeClr val="bg1"/>
                </a:solidFill>
              </a:rPr>
              <a:t>Loading</a:t>
            </a:r>
            <a:r>
              <a:rPr lang="nl-NL" sz="1200" spc="50" dirty="0">
                <a:solidFill>
                  <a:schemeClr val="bg1"/>
                </a:solidFill>
              </a:rPr>
              <a:t> </a:t>
            </a:r>
            <a:r>
              <a:rPr lang="nl-NL" sz="1200" spc="50" dirty="0" err="1">
                <a:solidFill>
                  <a:schemeClr val="bg1"/>
                </a:solidFill>
              </a:rPr>
              <a:t>times</a:t>
            </a:r>
            <a:endParaRPr lang="nl-NL" sz="1200" spc="50" baseline="0" noProof="0" dirty="0" err="1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D724CD6-76FA-4B37-9278-95E36671C8DA}"/>
              </a:ext>
            </a:extLst>
          </p:cNvPr>
          <p:cNvSpPr/>
          <p:nvPr/>
        </p:nvSpPr>
        <p:spPr>
          <a:xfrm>
            <a:off x="515008" y="3555786"/>
            <a:ext cx="1555423" cy="707011"/>
          </a:xfrm>
          <a:prstGeom prst="ellipse">
            <a:avLst/>
          </a:prstGeom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z="1200" spc="50" dirty="0">
                <a:solidFill>
                  <a:schemeClr val="bg1"/>
                </a:solidFill>
              </a:rPr>
              <a:t>Search engine</a:t>
            </a:r>
            <a:endParaRPr lang="nl-NL" sz="1200" spc="50" baseline="0" noProof="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C8B0795-34F5-4DAF-8F96-CAC7E7E69FEE}"/>
              </a:ext>
            </a:extLst>
          </p:cNvPr>
          <p:cNvSpPr/>
          <p:nvPr/>
        </p:nvSpPr>
        <p:spPr>
          <a:xfrm>
            <a:off x="1566420" y="4429214"/>
            <a:ext cx="1555423" cy="7070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z="1200" spc="50" dirty="0">
                <a:solidFill>
                  <a:schemeClr val="bg1"/>
                </a:solidFill>
              </a:rPr>
              <a:t>Banners</a:t>
            </a:r>
            <a:endParaRPr lang="nl-NL" sz="1200" spc="50" baseline="0" noProof="0" dirty="0" err="1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3A0E971-51F5-49DD-B471-68EEE970D593}"/>
              </a:ext>
            </a:extLst>
          </p:cNvPr>
          <p:cNvSpPr/>
          <p:nvPr/>
        </p:nvSpPr>
        <p:spPr>
          <a:xfrm>
            <a:off x="863800" y="5286241"/>
            <a:ext cx="1555423" cy="707011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z="1200" spc="50" dirty="0" err="1">
                <a:solidFill>
                  <a:schemeClr val="bg1"/>
                </a:solidFill>
              </a:rPr>
              <a:t>Newsletter</a:t>
            </a:r>
            <a:endParaRPr lang="nl-NL" sz="1200" spc="50" baseline="0" noProof="0" dirty="0" err="1">
              <a:solidFill>
                <a:schemeClr val="bg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4D3925-270B-4A1A-B337-C501A4808C21}"/>
              </a:ext>
            </a:extLst>
          </p:cNvPr>
          <p:cNvSpPr/>
          <p:nvPr/>
        </p:nvSpPr>
        <p:spPr>
          <a:xfrm>
            <a:off x="2914451" y="2388151"/>
            <a:ext cx="1555423" cy="707011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z="1200" spc="50" dirty="0">
                <a:solidFill>
                  <a:schemeClr val="bg1"/>
                </a:solidFill>
              </a:rPr>
              <a:t>My account</a:t>
            </a:r>
            <a:endParaRPr lang="nl-NL" sz="1200" spc="50" baseline="0" noProof="0" dirty="0" err="1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DE45D78-3658-408E-957C-C402BC4F09E4}"/>
              </a:ext>
            </a:extLst>
          </p:cNvPr>
          <p:cNvSpPr/>
          <p:nvPr/>
        </p:nvSpPr>
        <p:spPr>
          <a:xfrm>
            <a:off x="2914453" y="3667409"/>
            <a:ext cx="1555423" cy="70701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z="1200" spc="50" dirty="0" err="1">
                <a:solidFill>
                  <a:schemeClr val="bg1"/>
                </a:solidFill>
              </a:rPr>
              <a:t>Notify</a:t>
            </a:r>
            <a:r>
              <a:rPr lang="nl-NL" sz="1200" spc="50" dirty="0">
                <a:solidFill>
                  <a:schemeClr val="bg1"/>
                </a:solidFill>
              </a:rPr>
              <a:t> me</a:t>
            </a:r>
            <a:endParaRPr lang="nl-NL" sz="1200" spc="50" baseline="0" noProof="0" dirty="0" err="1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77335AC-04B3-4D15-8CF9-5F5056786E6A}"/>
              </a:ext>
            </a:extLst>
          </p:cNvPr>
          <p:cNvSpPr/>
          <p:nvPr/>
        </p:nvSpPr>
        <p:spPr>
          <a:xfrm>
            <a:off x="2914451" y="5046828"/>
            <a:ext cx="1789524" cy="931974"/>
          </a:xfrm>
          <a:prstGeom prst="ellipse">
            <a:avLst/>
          </a:prstGeom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z="1200" spc="50" dirty="0">
                <a:solidFill>
                  <a:schemeClr val="bg1"/>
                </a:solidFill>
              </a:rPr>
              <a:t>New </a:t>
            </a:r>
            <a:r>
              <a:rPr lang="nl-NL" sz="1200" spc="50" dirty="0" err="1">
                <a:solidFill>
                  <a:schemeClr val="bg1"/>
                </a:solidFill>
              </a:rPr>
              <a:t>KPIs</a:t>
            </a:r>
            <a:r>
              <a:rPr lang="nl-NL" sz="1200" spc="50" dirty="0">
                <a:solidFill>
                  <a:schemeClr val="bg1"/>
                </a:solidFill>
              </a:rPr>
              <a:t>, events or site </a:t>
            </a:r>
            <a:r>
              <a:rPr lang="nl-NL" sz="1200" spc="50" dirty="0" err="1">
                <a:solidFill>
                  <a:schemeClr val="bg1"/>
                </a:solidFill>
              </a:rPr>
              <a:t>componens</a:t>
            </a:r>
            <a:endParaRPr lang="nl-NL" sz="1200" spc="50" baseline="0" noProof="0" dirty="0" err="1">
              <a:solidFill>
                <a:schemeClr val="bg1"/>
              </a:solidFill>
            </a:endParaRPr>
          </a:p>
        </p:txBody>
      </p:sp>
      <p:sp>
        <p:nvSpPr>
          <p:cNvPr id="8" name="Arrow: Striped Right 7">
            <a:extLst>
              <a:ext uri="{FF2B5EF4-FFF2-40B4-BE49-F238E27FC236}">
                <a16:creationId xmlns:a16="http://schemas.microsoft.com/office/drawing/2014/main" id="{E7567A45-1802-4842-8B54-FD1DAEF796EB}"/>
              </a:ext>
            </a:extLst>
          </p:cNvPr>
          <p:cNvSpPr/>
          <p:nvPr/>
        </p:nvSpPr>
        <p:spPr>
          <a:xfrm rot="20731198">
            <a:off x="5383603" y="2604853"/>
            <a:ext cx="2055043" cy="818634"/>
          </a:xfrm>
          <a:prstGeom prst="stripedRightArrow">
            <a:avLst/>
          </a:prstGeom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nl-NL" sz="1200" spc="50" baseline="0" noProof="0" dirty="0" err="1">
              <a:solidFill>
                <a:schemeClr val="tx1"/>
              </a:solidFill>
            </a:endParaRPr>
          </a:p>
        </p:txBody>
      </p:sp>
      <p:sp>
        <p:nvSpPr>
          <p:cNvPr id="17" name="Arrow: Striped Right 16">
            <a:extLst>
              <a:ext uri="{FF2B5EF4-FFF2-40B4-BE49-F238E27FC236}">
                <a16:creationId xmlns:a16="http://schemas.microsoft.com/office/drawing/2014/main" id="{D18463A0-5083-4321-8F76-179FE3BC4235}"/>
              </a:ext>
            </a:extLst>
          </p:cNvPr>
          <p:cNvSpPr/>
          <p:nvPr/>
        </p:nvSpPr>
        <p:spPr>
          <a:xfrm rot="1121116">
            <a:off x="5390869" y="4019897"/>
            <a:ext cx="2055043" cy="818634"/>
          </a:xfrm>
          <a:prstGeom prst="stripedRightArrow">
            <a:avLst/>
          </a:prstGeom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nl-NL" sz="1200" spc="50" baseline="0" noProof="0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A865C0-2FA0-453D-8015-515784DA4D47}"/>
              </a:ext>
            </a:extLst>
          </p:cNvPr>
          <p:cNvSpPr/>
          <p:nvPr/>
        </p:nvSpPr>
        <p:spPr>
          <a:xfrm>
            <a:off x="8050491" y="2045616"/>
            <a:ext cx="2701327" cy="121090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pc="50" baseline="0" noProof="0" dirty="0">
                <a:solidFill>
                  <a:schemeClr val="bg1"/>
                </a:solidFill>
              </a:rPr>
              <a:t>Site performanc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16F805D-7FDE-49BE-938B-D14A0DD28818}"/>
              </a:ext>
            </a:extLst>
          </p:cNvPr>
          <p:cNvSpPr/>
          <p:nvPr/>
        </p:nvSpPr>
        <p:spPr>
          <a:xfrm>
            <a:off x="8007547" y="4272607"/>
            <a:ext cx="2701327" cy="121090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rgbClr val="929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r>
              <a:rPr lang="nl-NL" spc="50" baseline="0" noProof="0" dirty="0">
                <a:solidFill>
                  <a:schemeClr val="bg1"/>
                </a:solidFill>
              </a:rPr>
              <a:t>Customer </a:t>
            </a:r>
            <a:r>
              <a:rPr lang="nl-NL" spc="50" baseline="0" noProof="0" dirty="0" err="1">
                <a:solidFill>
                  <a:schemeClr val="bg1"/>
                </a:solidFill>
              </a:rPr>
              <a:t>Journey</a:t>
            </a:r>
            <a:endParaRPr lang="nl-NL" spc="50" baseline="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estseller">
      <a:dk1>
        <a:sysClr val="windowText" lastClr="000000"/>
      </a:dk1>
      <a:lt1>
        <a:sysClr val="window" lastClr="FFFFFF"/>
      </a:lt1>
      <a:dk2>
        <a:srgbClr val="707174"/>
      </a:dk2>
      <a:lt2>
        <a:srgbClr val="E2E1DC"/>
      </a:lt2>
      <a:accent1>
        <a:srgbClr val="929395"/>
      </a:accent1>
      <a:accent2>
        <a:srgbClr val="B0B0AE"/>
      </a:accent2>
      <a:accent3>
        <a:srgbClr val="DAB221"/>
      </a:accent3>
      <a:accent4>
        <a:srgbClr val="7C363C"/>
      </a:accent4>
      <a:accent5>
        <a:srgbClr val="6B734B"/>
      </a:accent5>
      <a:accent6>
        <a:srgbClr val="0F3B64"/>
      </a:accent6>
      <a:hlink>
        <a:srgbClr val="0000FF"/>
      </a:hlink>
      <a:folHlink>
        <a:srgbClr val="800080"/>
      </a:folHlink>
    </a:clrScheme>
    <a:fontScheme name="BESTSELLER">
      <a:majorFont>
        <a:latin typeface="Adelle BS Office"/>
        <a:ea typeface=""/>
        <a:cs typeface=""/>
      </a:majorFont>
      <a:minorFont>
        <a:latin typeface="Adelle B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rgbClr val="929395"/>
          </a:solidFill>
        </a:ln>
      </a:spPr>
      <a:bodyPr rtlCol="0" anchor="ctr"/>
      <a:lstStyle>
        <a:defPPr algn="ctr">
          <a:lnSpc>
            <a:spcPct val="111000"/>
          </a:lnSpc>
          <a:defRPr sz="1200" spc="50" baseline="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algn="l" defTabSz="914400" rtl="0" eaLnBrk="1" latinLnBrk="0" hangingPunct="1">
          <a:lnSpc>
            <a:spcPct val="111000"/>
          </a:lnSpc>
          <a:defRPr sz="1200" kern="1200" spc="50" baseline="0" noProof="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6BC78AB-4598-4033-8E95-ED3ED065A979}" vid="{AD890E13-6A38-4A2F-9E27-1EAC61933A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463</TotalTime>
  <Words>181</Words>
  <Application>Microsoft Office PowerPoint</Application>
  <PresentationFormat>Widescreen</PresentationFormat>
  <Paragraphs>59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delle BS</vt:lpstr>
      <vt:lpstr>Adelle BS Office</vt:lpstr>
      <vt:lpstr>Arial</vt:lpstr>
      <vt:lpstr>Arial Black</vt:lpstr>
      <vt:lpstr>Calibri</vt:lpstr>
      <vt:lpstr>Wingdings</vt:lpstr>
      <vt:lpstr>Blank</vt:lpstr>
      <vt:lpstr>think-cell Slide</vt:lpstr>
      <vt:lpstr>template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estseller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el.kilgenstein</dc:creator>
  <cp:lastModifiedBy>Tiago Pimentel</cp:lastModifiedBy>
  <cp:revision>248</cp:revision>
  <cp:lastPrinted>2015-07-06T15:22:29Z</cp:lastPrinted>
  <dcterms:created xsi:type="dcterms:W3CDTF">2015-06-23T14:37:59Z</dcterms:created>
  <dcterms:modified xsi:type="dcterms:W3CDTF">2018-04-06T08:4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</Properties>
</file>